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7" r:id="rId1"/>
    <p:sldMasterId id="2147483802" r:id="rId2"/>
  </p:sldMasterIdLst>
  <p:notesMasterIdLst>
    <p:notesMasterId r:id="rId16"/>
  </p:notesMasterIdLst>
  <p:sldIdLst>
    <p:sldId id="256" r:id="rId3"/>
    <p:sldId id="863" r:id="rId4"/>
    <p:sldId id="674" r:id="rId5"/>
    <p:sldId id="856" r:id="rId6"/>
    <p:sldId id="533" r:id="rId7"/>
    <p:sldId id="537" r:id="rId8"/>
    <p:sldId id="538" r:id="rId9"/>
    <p:sldId id="534" r:id="rId10"/>
    <p:sldId id="535" r:id="rId11"/>
    <p:sldId id="681" r:id="rId12"/>
    <p:sldId id="688" r:id="rId13"/>
    <p:sldId id="683" r:id="rId14"/>
    <p:sldId id="388" r:id="rId15"/>
  </p:sldIdLst>
  <p:sldSz cx="9144000" cy="5143500" type="screen16x9"/>
  <p:notesSz cx="6797675" cy="99282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749">
          <p15:clr>
            <a:srgbClr val="A4A3A4"/>
          </p15:clr>
        </p15:guide>
        <p15:guide id="3" orient="horz" pos="3588">
          <p15:clr>
            <a:srgbClr val="A4A3A4"/>
          </p15:clr>
        </p15:guide>
        <p15:guide id="4" orient="horz" pos="1117">
          <p15:clr>
            <a:srgbClr val="A4A3A4"/>
          </p15:clr>
        </p15:guide>
        <p15:guide id="5" orient="horz" pos="1145">
          <p15:clr>
            <a:srgbClr val="A4A3A4"/>
          </p15:clr>
        </p15:guide>
        <p15:guide id="6" orient="horz" pos="3967">
          <p15:clr>
            <a:srgbClr val="A4A3A4"/>
          </p15:clr>
        </p15:guide>
        <p15:guide id="7" pos="2880">
          <p15:clr>
            <a:srgbClr val="A4A3A4"/>
          </p15:clr>
        </p15:guide>
        <p15:guide id="8" pos="246">
          <p15:clr>
            <a:srgbClr val="A4A3A4"/>
          </p15:clr>
        </p15:guide>
        <p15:guide id="9" pos="5526">
          <p15:clr>
            <a:srgbClr val="A4A3A4"/>
          </p15:clr>
        </p15:guide>
        <p15:guide id="10" pos="2832">
          <p15:clr>
            <a:srgbClr val="A4A3A4"/>
          </p15:clr>
        </p15:guide>
        <p15:guide id="11" pos="2928">
          <p15:clr>
            <a:srgbClr val="A4A3A4"/>
          </p15:clr>
        </p15:guide>
        <p15:guide id="12" orient="horz" pos="1620">
          <p15:clr>
            <a:srgbClr val="A4A3A4"/>
          </p15:clr>
        </p15:guide>
        <p15:guide id="13" orient="horz" pos="562">
          <p15:clr>
            <a:srgbClr val="A4A3A4"/>
          </p15:clr>
        </p15:guide>
        <p15:guide id="14" orient="horz" pos="2691">
          <p15:clr>
            <a:srgbClr val="A4A3A4"/>
          </p15:clr>
        </p15:guide>
        <p15:guide id="15" orient="horz" pos="838">
          <p15:clr>
            <a:srgbClr val="A4A3A4"/>
          </p15:clr>
        </p15:guide>
        <p15:guide id="16" orient="horz" pos="859">
          <p15:clr>
            <a:srgbClr val="A4A3A4"/>
          </p15:clr>
        </p15:guide>
        <p15:guide id="17" orient="horz" pos="2975">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57" autoAdjust="0"/>
  </p:normalViewPr>
  <p:slideViewPr>
    <p:cSldViewPr snapToGrid="0">
      <p:cViewPr varScale="1">
        <p:scale>
          <a:sx n="145" d="100"/>
          <a:sy n="145" d="100"/>
        </p:scale>
        <p:origin x="606" y="120"/>
      </p:cViewPr>
      <p:guideLst>
        <p:guide orient="horz" pos="2160"/>
        <p:guide orient="horz" pos="749"/>
        <p:guide orient="horz" pos="3588"/>
        <p:guide orient="horz" pos="1117"/>
        <p:guide orient="horz" pos="1145"/>
        <p:guide orient="horz" pos="3967"/>
        <p:guide pos="2880"/>
        <p:guide pos="246"/>
        <p:guide pos="5526"/>
        <p:guide pos="2832"/>
        <p:guide pos="2928"/>
        <p:guide orient="horz" pos="1620"/>
        <p:guide orient="horz" pos="562"/>
        <p:guide orient="horz" pos="2691"/>
        <p:guide orient="horz" pos="838"/>
        <p:guide orient="horz" pos="859"/>
        <p:guide orient="horz" pos="2975"/>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8475"/>
          </a:xfrm>
          <a:prstGeom prst="rect">
            <a:avLst/>
          </a:prstGeom>
        </p:spPr>
        <p:txBody>
          <a:bodyPr vert="horz" lIns="91440" tIns="45720" rIns="91440" bIns="45720" rtlCol="0"/>
          <a:lstStyle>
            <a:lvl1pPr algn="r">
              <a:defRPr sz="1200"/>
            </a:lvl1pPr>
          </a:lstStyle>
          <a:p>
            <a:fld id="{F0727A7B-A6D5-4826-AF9D-D9777E8B1C47}" type="datetimeFigureOut">
              <a:rPr lang="en-US" smtClean="0"/>
              <a:t>9/21/2020</a:t>
            </a:fld>
            <a:endParaRPr lang="en-US"/>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450" y="4778375"/>
            <a:ext cx="5438775" cy="3908425"/>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9750"/>
            <a:ext cx="2946400" cy="498475"/>
          </a:xfrm>
          <a:prstGeom prst="rect">
            <a:avLst/>
          </a:prstGeom>
        </p:spPr>
        <p:txBody>
          <a:bodyPr vert="horz" lIns="91440" tIns="45720" rIns="91440" bIns="45720" rtlCol="0" anchor="b"/>
          <a:lstStyle>
            <a:lvl1pPr algn="r">
              <a:defRPr sz="1200"/>
            </a:lvl1pPr>
          </a:lstStyle>
          <a:p>
            <a:fld id="{662A68E0-8C34-422C-A6F3-67F6925E8D1A}" type="slidenum">
              <a:rPr lang="en-US" smtClean="0"/>
              <a:t>‹#›</a:t>
            </a:fld>
            <a:endParaRPr lang="en-US"/>
          </a:p>
        </p:txBody>
      </p:sp>
    </p:spTree>
    <p:extLst>
      <p:ext uri="{BB962C8B-B14F-4D97-AF65-F5344CB8AC3E}">
        <p14:creationId xmlns:p14="http://schemas.microsoft.com/office/powerpoint/2010/main" val="1630931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fter this introduction to Celanese, let us now switch gears and look into current trends in biologics delivery.</a:t>
            </a:r>
          </a:p>
        </p:txBody>
      </p:sp>
      <p:sp>
        <p:nvSpPr>
          <p:cNvPr id="4" name="Foliennummernplatzhalter 3"/>
          <p:cNvSpPr>
            <a:spLocks noGrp="1"/>
          </p:cNvSpPr>
          <p:nvPr>
            <p:ph type="sldNum" sz="quarter" idx="5"/>
          </p:nvPr>
        </p:nvSpPr>
        <p:spPr/>
        <p:txBody>
          <a:bodyPr/>
          <a:lstStyle/>
          <a:p>
            <a:fld id="{44B7D7D9-5539-47B4-8E41-2E16A06C5B59}" type="slidenum">
              <a:rPr lang="en-US" smtClean="0"/>
              <a:t>2</a:t>
            </a:fld>
            <a:endParaRPr lang="en-US"/>
          </a:p>
        </p:txBody>
      </p:sp>
    </p:spTree>
    <p:extLst>
      <p:ext uri="{BB962C8B-B14F-4D97-AF65-F5344CB8AC3E}">
        <p14:creationId xmlns:p14="http://schemas.microsoft.com/office/powerpoint/2010/main" val="2501386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 believe we are all aware of noticeable trends in the delivery of biologics. While some details are certainly open for discussions, Celanese recognizes a clear trend towards larger volumes and higher solution viscosities in ever more complex injection devices, as new biologics suitable for sub-cutaneous self-administration come to the market. This allows a shift from hospital based treatments to home therapy, which helps to contain costs and resources in healthcare systems. At the same time long-acting formulations and connected smart devices will ensure or even improve patient compliance and outcome. </a:t>
            </a:r>
          </a:p>
        </p:txBody>
      </p:sp>
      <p:sp>
        <p:nvSpPr>
          <p:cNvPr id="4" name="Foliennummernplatzhalter 3"/>
          <p:cNvSpPr>
            <a:spLocks noGrp="1"/>
          </p:cNvSpPr>
          <p:nvPr>
            <p:ph type="sldNum" sz="quarter" idx="5"/>
          </p:nvPr>
        </p:nvSpPr>
        <p:spPr/>
        <p:txBody>
          <a:bodyPr/>
          <a:lstStyle/>
          <a:p>
            <a:fld id="{44B7D7D9-5539-47B4-8E41-2E16A06C5B59}" type="slidenum">
              <a:rPr lang="en-US" smtClean="0"/>
              <a:t>3</a:t>
            </a:fld>
            <a:endParaRPr lang="en-US"/>
          </a:p>
        </p:txBody>
      </p:sp>
    </p:spTree>
    <p:extLst>
      <p:ext uri="{BB962C8B-B14F-4D97-AF65-F5344CB8AC3E}">
        <p14:creationId xmlns:p14="http://schemas.microsoft.com/office/powerpoint/2010/main" val="29528643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e </a:t>
            </a:r>
            <a:r>
              <a:rPr lang="de-DE" dirty="0" err="1"/>
              <a:t>evolution</a:t>
            </a:r>
            <a:r>
              <a:rPr lang="de-DE" dirty="0"/>
              <a:t> in </a:t>
            </a:r>
            <a:r>
              <a:rPr lang="de-DE" dirty="0" err="1"/>
              <a:t>biologics</a:t>
            </a:r>
            <a:r>
              <a:rPr lang="de-DE" dirty="0"/>
              <a:t> </a:t>
            </a:r>
            <a:r>
              <a:rPr lang="de-DE" dirty="0" err="1"/>
              <a:t>delivery</a:t>
            </a:r>
            <a:r>
              <a:rPr lang="de-DE" dirty="0"/>
              <a:t> </a:t>
            </a:r>
            <a:r>
              <a:rPr lang="de-DE" dirty="0" err="1"/>
              <a:t>is</a:t>
            </a:r>
            <a:r>
              <a:rPr lang="de-DE" dirty="0"/>
              <a:t> </a:t>
            </a:r>
            <a:r>
              <a:rPr lang="de-DE" dirty="0" err="1"/>
              <a:t>driven</a:t>
            </a:r>
            <a:r>
              <a:rPr lang="de-DE" dirty="0"/>
              <a:t> </a:t>
            </a:r>
            <a:r>
              <a:rPr lang="de-DE" dirty="0" err="1"/>
              <a:t>by</a:t>
            </a:r>
            <a:r>
              <a:rPr lang="de-DE" dirty="0"/>
              <a:t> </a:t>
            </a:r>
            <a:r>
              <a:rPr lang="de-DE" dirty="0" err="1"/>
              <a:t>continuous</a:t>
            </a:r>
            <a:r>
              <a:rPr lang="de-DE" dirty="0"/>
              <a:t> </a:t>
            </a:r>
            <a:r>
              <a:rPr lang="de-DE" dirty="0" err="1"/>
              <a:t>innovation</a:t>
            </a:r>
            <a:r>
              <a:rPr lang="de-DE" dirty="0"/>
              <a:t> of </a:t>
            </a:r>
            <a:r>
              <a:rPr lang="de-DE" dirty="0" err="1"/>
              <a:t>existing</a:t>
            </a:r>
            <a:r>
              <a:rPr lang="de-DE" dirty="0"/>
              <a:t> </a:t>
            </a:r>
            <a:r>
              <a:rPr lang="de-DE" dirty="0" err="1"/>
              <a:t>dosage</a:t>
            </a:r>
            <a:r>
              <a:rPr lang="de-DE" dirty="0"/>
              <a:t> </a:t>
            </a:r>
            <a:r>
              <a:rPr lang="de-DE" dirty="0" err="1"/>
              <a:t>forms</a:t>
            </a:r>
            <a:r>
              <a:rPr lang="de-DE" dirty="0"/>
              <a:t> and </a:t>
            </a:r>
            <a:r>
              <a:rPr lang="de-DE" dirty="0" err="1"/>
              <a:t>devices</a:t>
            </a:r>
            <a:r>
              <a:rPr lang="de-DE" dirty="0"/>
              <a:t>. Moving </a:t>
            </a:r>
            <a:r>
              <a:rPr lang="de-DE" dirty="0" err="1"/>
              <a:t>from</a:t>
            </a:r>
            <a:r>
              <a:rPr lang="de-DE" dirty="0"/>
              <a:t> </a:t>
            </a:r>
            <a:r>
              <a:rPr lang="de-DE" dirty="0" err="1"/>
              <a:t>pre-filled</a:t>
            </a:r>
            <a:r>
              <a:rPr lang="de-DE" dirty="0"/>
              <a:t> </a:t>
            </a:r>
            <a:r>
              <a:rPr lang="de-DE" dirty="0" err="1"/>
              <a:t>syringes</a:t>
            </a:r>
            <a:r>
              <a:rPr lang="de-DE" dirty="0"/>
              <a:t> to </a:t>
            </a:r>
            <a:r>
              <a:rPr lang="de-DE" dirty="0" err="1"/>
              <a:t>more</a:t>
            </a:r>
            <a:r>
              <a:rPr lang="de-DE" dirty="0"/>
              <a:t> </a:t>
            </a:r>
            <a:r>
              <a:rPr lang="de-DE" dirty="0" err="1"/>
              <a:t>advanced</a:t>
            </a:r>
            <a:r>
              <a:rPr lang="de-DE" dirty="0"/>
              <a:t> </a:t>
            </a:r>
            <a:r>
              <a:rPr lang="de-DE" dirty="0" err="1"/>
              <a:t>injection</a:t>
            </a:r>
            <a:r>
              <a:rPr lang="de-DE" dirty="0"/>
              <a:t> </a:t>
            </a:r>
            <a:r>
              <a:rPr lang="de-DE" dirty="0" err="1"/>
              <a:t>devices</a:t>
            </a:r>
            <a:r>
              <a:rPr lang="de-DE" dirty="0"/>
              <a:t> like smart </a:t>
            </a:r>
            <a:r>
              <a:rPr lang="de-DE" dirty="0" err="1"/>
              <a:t>autoinjectors</a:t>
            </a:r>
            <a:r>
              <a:rPr lang="de-DE" dirty="0"/>
              <a:t> </a:t>
            </a:r>
            <a:r>
              <a:rPr lang="de-DE" dirty="0" err="1"/>
              <a:t>or</a:t>
            </a:r>
            <a:r>
              <a:rPr lang="de-DE" dirty="0"/>
              <a:t> </a:t>
            </a:r>
            <a:r>
              <a:rPr lang="de-DE" dirty="0" err="1"/>
              <a:t>wearable</a:t>
            </a:r>
            <a:r>
              <a:rPr lang="de-DE" dirty="0"/>
              <a:t> </a:t>
            </a:r>
            <a:r>
              <a:rPr lang="de-DE" dirty="0" err="1"/>
              <a:t>pumps</a:t>
            </a:r>
            <a:r>
              <a:rPr lang="de-DE" dirty="0"/>
              <a:t> </a:t>
            </a:r>
            <a:r>
              <a:rPr lang="de-DE" dirty="0" err="1"/>
              <a:t>results</a:t>
            </a:r>
            <a:r>
              <a:rPr lang="de-DE" dirty="0"/>
              <a:t> in </a:t>
            </a:r>
            <a:r>
              <a:rPr lang="de-DE" dirty="0" err="1"/>
              <a:t>increased</a:t>
            </a:r>
            <a:r>
              <a:rPr lang="de-DE" dirty="0"/>
              <a:t> </a:t>
            </a:r>
            <a:r>
              <a:rPr lang="de-DE" dirty="0" err="1"/>
              <a:t>patient</a:t>
            </a:r>
            <a:r>
              <a:rPr lang="de-DE" dirty="0"/>
              <a:t> </a:t>
            </a:r>
            <a:r>
              <a:rPr lang="de-DE" dirty="0" err="1"/>
              <a:t>outcome</a:t>
            </a:r>
            <a:r>
              <a:rPr lang="de-DE" dirty="0"/>
              <a:t> </a:t>
            </a:r>
            <a:r>
              <a:rPr lang="de-DE" dirty="0" err="1"/>
              <a:t>through</a:t>
            </a:r>
            <a:r>
              <a:rPr lang="de-DE" dirty="0"/>
              <a:t> a </a:t>
            </a:r>
            <a:r>
              <a:rPr lang="de-DE" dirty="0" err="1"/>
              <a:t>more</a:t>
            </a:r>
            <a:r>
              <a:rPr lang="de-DE" dirty="0"/>
              <a:t> </a:t>
            </a:r>
            <a:r>
              <a:rPr lang="de-DE" dirty="0" err="1"/>
              <a:t>patient</a:t>
            </a:r>
            <a:r>
              <a:rPr lang="de-DE" dirty="0"/>
              <a:t> </a:t>
            </a:r>
            <a:r>
              <a:rPr lang="de-DE" dirty="0" err="1"/>
              <a:t>friendly</a:t>
            </a:r>
            <a:r>
              <a:rPr lang="de-DE" dirty="0"/>
              <a:t> </a:t>
            </a:r>
            <a:r>
              <a:rPr lang="de-DE" dirty="0" err="1"/>
              <a:t>delivery</a:t>
            </a:r>
            <a:r>
              <a:rPr lang="de-DE" dirty="0"/>
              <a:t>, </a:t>
            </a:r>
            <a:r>
              <a:rPr lang="de-DE" dirty="0" err="1"/>
              <a:t>more</a:t>
            </a:r>
            <a:r>
              <a:rPr lang="de-DE" dirty="0"/>
              <a:t> reliable </a:t>
            </a:r>
            <a:r>
              <a:rPr lang="de-DE" dirty="0" err="1"/>
              <a:t>dosing</a:t>
            </a:r>
            <a:r>
              <a:rPr lang="de-DE" dirty="0"/>
              <a:t> and </a:t>
            </a:r>
            <a:r>
              <a:rPr lang="de-DE" dirty="0" err="1"/>
              <a:t>better</a:t>
            </a:r>
            <a:r>
              <a:rPr lang="de-DE" dirty="0"/>
              <a:t> </a:t>
            </a:r>
            <a:r>
              <a:rPr lang="de-DE" dirty="0" err="1"/>
              <a:t>delivery</a:t>
            </a:r>
            <a:r>
              <a:rPr lang="de-DE" dirty="0"/>
              <a:t> </a:t>
            </a:r>
            <a:r>
              <a:rPr lang="de-DE" dirty="0" err="1"/>
              <a:t>controls</a:t>
            </a:r>
            <a:r>
              <a:rPr lang="de-DE" dirty="0"/>
              <a:t>. </a:t>
            </a:r>
            <a:r>
              <a:rPr lang="de-DE" dirty="0" err="1"/>
              <a:t>We</a:t>
            </a:r>
            <a:r>
              <a:rPr lang="de-DE" dirty="0"/>
              <a:t> </a:t>
            </a:r>
            <a:r>
              <a:rPr lang="de-DE" dirty="0" err="1"/>
              <a:t>believe</a:t>
            </a:r>
            <a:r>
              <a:rPr lang="de-DE" dirty="0"/>
              <a:t> </a:t>
            </a:r>
            <a:r>
              <a:rPr lang="de-DE" dirty="0" err="1"/>
              <a:t>that</a:t>
            </a:r>
            <a:r>
              <a:rPr lang="de-DE" dirty="0"/>
              <a:t> </a:t>
            </a:r>
            <a:r>
              <a:rPr lang="de-DE" dirty="0" err="1"/>
              <a:t>microneedle</a:t>
            </a:r>
            <a:r>
              <a:rPr lang="de-DE" dirty="0"/>
              <a:t> </a:t>
            </a:r>
            <a:r>
              <a:rPr lang="de-DE" dirty="0" err="1"/>
              <a:t>patches</a:t>
            </a:r>
            <a:r>
              <a:rPr lang="de-DE" dirty="0"/>
              <a:t> and </a:t>
            </a:r>
            <a:r>
              <a:rPr lang="de-DE" dirty="0" err="1"/>
              <a:t>injectable</a:t>
            </a:r>
            <a:r>
              <a:rPr lang="de-DE" dirty="0"/>
              <a:t> </a:t>
            </a:r>
            <a:r>
              <a:rPr lang="de-DE" dirty="0" err="1"/>
              <a:t>long-acting</a:t>
            </a:r>
            <a:r>
              <a:rPr lang="de-DE" dirty="0"/>
              <a:t> </a:t>
            </a:r>
            <a:r>
              <a:rPr lang="de-DE" dirty="0" err="1"/>
              <a:t>depot</a:t>
            </a:r>
            <a:r>
              <a:rPr lang="de-DE" dirty="0"/>
              <a:t> </a:t>
            </a:r>
            <a:r>
              <a:rPr lang="de-DE" dirty="0" err="1"/>
              <a:t>formulations</a:t>
            </a:r>
            <a:r>
              <a:rPr lang="de-DE" dirty="0"/>
              <a:t> of </a:t>
            </a:r>
            <a:r>
              <a:rPr lang="de-DE" dirty="0" err="1"/>
              <a:t>new</a:t>
            </a:r>
            <a:r>
              <a:rPr lang="de-DE" dirty="0"/>
              <a:t> high-</a:t>
            </a:r>
            <a:r>
              <a:rPr lang="de-DE" dirty="0" err="1"/>
              <a:t>affinity</a:t>
            </a:r>
            <a:r>
              <a:rPr lang="de-DE" dirty="0"/>
              <a:t> &amp; potent </a:t>
            </a:r>
            <a:r>
              <a:rPr lang="de-DE" dirty="0" err="1"/>
              <a:t>biologics</a:t>
            </a:r>
            <a:r>
              <a:rPr lang="de-DE" dirty="0"/>
              <a:t> will </a:t>
            </a:r>
            <a:r>
              <a:rPr lang="de-DE" dirty="0" err="1"/>
              <a:t>enable</a:t>
            </a:r>
            <a:r>
              <a:rPr lang="de-DE" dirty="0"/>
              <a:t> </a:t>
            </a:r>
            <a:r>
              <a:rPr lang="de-DE" dirty="0" err="1"/>
              <a:t>efficient</a:t>
            </a:r>
            <a:r>
              <a:rPr lang="de-DE" dirty="0"/>
              <a:t> &amp; reliable </a:t>
            </a:r>
            <a:r>
              <a:rPr lang="de-DE" dirty="0" err="1"/>
              <a:t>dosing</a:t>
            </a:r>
            <a:r>
              <a:rPr lang="de-DE" dirty="0"/>
              <a:t> of </a:t>
            </a:r>
            <a:r>
              <a:rPr lang="de-DE" dirty="0" err="1"/>
              <a:t>biologics</a:t>
            </a:r>
            <a:r>
              <a:rPr lang="de-DE" dirty="0"/>
              <a:t> on </a:t>
            </a:r>
            <a:r>
              <a:rPr lang="de-DE" dirty="0" err="1"/>
              <a:t>levels</a:t>
            </a:r>
            <a:r>
              <a:rPr lang="de-DE" dirty="0"/>
              <a:t> </a:t>
            </a:r>
            <a:r>
              <a:rPr lang="de-DE" dirty="0" err="1"/>
              <a:t>currently</a:t>
            </a:r>
            <a:r>
              <a:rPr lang="de-DE" dirty="0"/>
              <a:t> not </a:t>
            </a:r>
            <a:r>
              <a:rPr lang="de-DE" dirty="0" err="1"/>
              <a:t>achieved</a:t>
            </a:r>
            <a:r>
              <a:rPr lang="de-DE" dirty="0"/>
              <a:t>. </a:t>
            </a:r>
          </a:p>
          <a:p>
            <a:r>
              <a:rPr lang="de-DE" dirty="0"/>
              <a:t>Celanese </a:t>
            </a:r>
            <a:r>
              <a:rPr lang="de-DE" dirty="0" err="1"/>
              <a:t>actively</a:t>
            </a:r>
            <a:r>
              <a:rPr lang="de-DE" dirty="0"/>
              <a:t> </a:t>
            </a:r>
            <a:r>
              <a:rPr lang="de-DE" dirty="0" err="1"/>
              <a:t>supports</a:t>
            </a:r>
            <a:r>
              <a:rPr lang="de-DE" dirty="0"/>
              <a:t> </a:t>
            </a:r>
            <a:r>
              <a:rPr lang="de-DE" dirty="0" err="1"/>
              <a:t>development</a:t>
            </a:r>
            <a:r>
              <a:rPr lang="de-DE" dirty="0"/>
              <a:t> of </a:t>
            </a:r>
            <a:r>
              <a:rPr lang="de-DE" dirty="0" err="1"/>
              <a:t>these</a:t>
            </a:r>
            <a:r>
              <a:rPr lang="de-DE" dirty="0"/>
              <a:t> innovative </a:t>
            </a:r>
            <a:r>
              <a:rPr lang="de-DE" dirty="0" err="1"/>
              <a:t>delivery</a:t>
            </a:r>
            <a:r>
              <a:rPr lang="de-DE" dirty="0"/>
              <a:t> </a:t>
            </a:r>
            <a:r>
              <a:rPr lang="de-DE" dirty="0" err="1"/>
              <a:t>devices</a:t>
            </a:r>
            <a:r>
              <a:rPr lang="de-DE" dirty="0"/>
              <a:t> and </a:t>
            </a:r>
            <a:r>
              <a:rPr lang="de-DE" dirty="0" err="1"/>
              <a:t>drug</a:t>
            </a:r>
            <a:r>
              <a:rPr lang="de-DE" dirty="0"/>
              <a:t> </a:t>
            </a:r>
            <a:r>
              <a:rPr lang="de-DE" dirty="0" err="1"/>
              <a:t>formulations</a:t>
            </a:r>
            <a:r>
              <a:rPr lang="de-DE" dirty="0"/>
              <a:t> </a:t>
            </a:r>
            <a:r>
              <a:rPr lang="de-DE" dirty="0" err="1"/>
              <a:t>through</a:t>
            </a:r>
            <a:r>
              <a:rPr lang="de-DE" dirty="0"/>
              <a:t> </a:t>
            </a:r>
            <a:r>
              <a:rPr lang="de-DE" dirty="0" err="1"/>
              <a:t>our</a:t>
            </a:r>
            <a:r>
              <a:rPr lang="de-DE" dirty="0"/>
              <a:t> </a:t>
            </a:r>
            <a:r>
              <a:rPr lang="de-DE" dirty="0" err="1"/>
              <a:t>materials</a:t>
            </a:r>
            <a:r>
              <a:rPr lang="de-DE" dirty="0"/>
              <a:t> and </a:t>
            </a:r>
            <a:r>
              <a:rPr lang="de-DE" dirty="0" err="1"/>
              <a:t>technology</a:t>
            </a:r>
            <a:r>
              <a:rPr lang="de-DE" dirty="0"/>
              <a:t> </a:t>
            </a:r>
            <a:r>
              <a:rPr lang="de-DE" dirty="0" err="1"/>
              <a:t>innovations</a:t>
            </a:r>
            <a:r>
              <a:rPr lang="de-DE" dirty="0"/>
              <a:t>. In </a:t>
            </a:r>
            <a:r>
              <a:rPr lang="de-DE" dirty="0" err="1"/>
              <a:t>the</a:t>
            </a:r>
            <a:r>
              <a:rPr lang="de-DE" dirty="0"/>
              <a:t> </a:t>
            </a:r>
            <a:r>
              <a:rPr lang="de-DE" dirty="0" err="1"/>
              <a:t>next</a:t>
            </a:r>
            <a:r>
              <a:rPr lang="de-DE" dirty="0"/>
              <a:t> </a:t>
            </a:r>
            <a:r>
              <a:rPr lang="de-DE" dirty="0" err="1"/>
              <a:t>parts</a:t>
            </a:r>
            <a:r>
              <a:rPr lang="de-DE" dirty="0"/>
              <a:t> of </a:t>
            </a:r>
            <a:r>
              <a:rPr lang="de-DE" dirty="0" err="1"/>
              <a:t>this</a:t>
            </a:r>
            <a:r>
              <a:rPr lang="de-DE" dirty="0"/>
              <a:t> </a:t>
            </a:r>
            <a:r>
              <a:rPr lang="de-DE" dirty="0" err="1"/>
              <a:t>presentation</a:t>
            </a:r>
            <a:r>
              <a:rPr lang="de-DE" dirty="0"/>
              <a:t> I will </a:t>
            </a:r>
            <a:r>
              <a:rPr lang="de-DE" dirty="0" err="1"/>
              <a:t>outline</a:t>
            </a:r>
            <a:r>
              <a:rPr lang="de-DE" dirty="0"/>
              <a:t> </a:t>
            </a:r>
            <a:r>
              <a:rPr lang="de-DE" dirty="0" err="1"/>
              <a:t>our</a:t>
            </a:r>
            <a:r>
              <a:rPr lang="de-DE" dirty="0"/>
              <a:t> </a:t>
            </a:r>
            <a:r>
              <a:rPr lang="de-DE" dirty="0" err="1"/>
              <a:t>solutions</a:t>
            </a:r>
            <a:r>
              <a:rPr lang="de-DE" dirty="0"/>
              <a:t> </a:t>
            </a:r>
            <a:r>
              <a:rPr lang="de-DE" dirty="0" err="1"/>
              <a:t>for</a:t>
            </a:r>
            <a:r>
              <a:rPr lang="de-DE" dirty="0"/>
              <a:t> </a:t>
            </a:r>
            <a:r>
              <a:rPr lang="de-DE" dirty="0" err="1"/>
              <a:t>advanced</a:t>
            </a:r>
            <a:r>
              <a:rPr lang="de-DE" dirty="0"/>
              <a:t> </a:t>
            </a:r>
            <a:r>
              <a:rPr lang="de-DE" dirty="0" err="1"/>
              <a:t>injection</a:t>
            </a:r>
            <a:r>
              <a:rPr lang="de-DE" dirty="0"/>
              <a:t> </a:t>
            </a:r>
            <a:r>
              <a:rPr lang="de-DE" dirty="0" err="1"/>
              <a:t>devices</a:t>
            </a:r>
            <a:r>
              <a:rPr lang="de-DE" dirty="0"/>
              <a:t>, </a:t>
            </a:r>
            <a:r>
              <a:rPr lang="de-DE" dirty="0" err="1"/>
              <a:t>wearable</a:t>
            </a:r>
            <a:r>
              <a:rPr lang="de-DE" dirty="0"/>
              <a:t> </a:t>
            </a:r>
            <a:r>
              <a:rPr lang="de-DE" dirty="0" err="1"/>
              <a:t>pumps</a:t>
            </a:r>
            <a:r>
              <a:rPr lang="de-DE" dirty="0"/>
              <a:t> and </a:t>
            </a:r>
            <a:r>
              <a:rPr lang="de-DE" dirty="0" err="1"/>
              <a:t>depot</a:t>
            </a:r>
            <a:r>
              <a:rPr lang="de-DE" dirty="0"/>
              <a:t> </a:t>
            </a:r>
            <a:r>
              <a:rPr lang="de-DE" dirty="0" err="1"/>
              <a:t>formulations</a:t>
            </a:r>
            <a:r>
              <a:rPr lang="de-DE" dirty="0"/>
              <a:t> in </a:t>
            </a:r>
            <a:r>
              <a:rPr lang="de-DE" dirty="0" err="1"/>
              <a:t>more</a:t>
            </a:r>
            <a:r>
              <a:rPr lang="de-DE" dirty="0"/>
              <a:t> </a:t>
            </a:r>
            <a:r>
              <a:rPr lang="de-DE" dirty="0" err="1"/>
              <a:t>detail</a:t>
            </a:r>
            <a:r>
              <a:rPr lang="de-DE" dirty="0"/>
              <a: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B7D7D9-5539-47B4-8E41-2E16A06C5B5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9243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8DEE08F1-44D4-41E5-A98A-D7AC8028A200}" type="slidenum">
              <a:rPr lang="en-US" smtClean="0"/>
              <a:t>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Date Placeholder 5"/>
          <p:cNvSpPr>
            <a:spLocks noGrp="1"/>
          </p:cNvSpPr>
          <p:nvPr>
            <p:ph type="dt" idx="12"/>
          </p:nvPr>
        </p:nvSpPr>
        <p:spPr/>
        <p:txBody>
          <a:bodyPr/>
          <a:lstStyle/>
          <a:p>
            <a:fld id="{807C43F0-707B-4AF4-BE5D-5FED985D27FB}" type="datetime1">
              <a:rPr lang="en-US" smtClean="0"/>
              <a:t>9/21/2020</a:t>
            </a:fld>
            <a:endParaRPr lang="en-US"/>
          </a:p>
        </p:txBody>
      </p:sp>
    </p:spTree>
    <p:extLst>
      <p:ext uri="{BB962C8B-B14F-4D97-AF65-F5344CB8AC3E}">
        <p14:creationId xmlns:p14="http://schemas.microsoft.com/office/powerpoint/2010/main" val="222816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DEE08F1-44D4-41E5-A98A-D7AC8028A200}" type="slidenum">
              <a:rPr lang="en-US" smtClean="0"/>
              <a:t>6</a:t>
            </a:fld>
            <a:endParaRPr lang="en-US" dirty="0"/>
          </a:p>
        </p:txBody>
      </p:sp>
    </p:spTree>
    <p:extLst>
      <p:ext uri="{BB962C8B-B14F-4D97-AF65-F5344CB8AC3E}">
        <p14:creationId xmlns:p14="http://schemas.microsoft.com/office/powerpoint/2010/main" val="2910004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DEE08F1-44D4-41E5-A98A-D7AC8028A200}" type="slidenum">
              <a:rPr lang="en-US" smtClean="0"/>
              <a:t>7</a:t>
            </a:fld>
            <a:endParaRPr lang="en-US" dirty="0"/>
          </a:p>
        </p:txBody>
      </p:sp>
    </p:spTree>
    <p:extLst>
      <p:ext uri="{BB962C8B-B14F-4D97-AF65-F5344CB8AC3E}">
        <p14:creationId xmlns:p14="http://schemas.microsoft.com/office/powerpoint/2010/main" val="3123952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DEE08F1-44D4-41E5-A98A-D7AC8028A200}" type="slidenum">
              <a:rPr lang="en-US" smtClean="0"/>
              <a:t>8</a:t>
            </a:fld>
            <a:endParaRPr lang="en-US" dirty="0"/>
          </a:p>
        </p:txBody>
      </p:sp>
    </p:spTree>
    <p:extLst>
      <p:ext uri="{BB962C8B-B14F-4D97-AF65-F5344CB8AC3E}">
        <p14:creationId xmlns:p14="http://schemas.microsoft.com/office/powerpoint/2010/main" val="14803636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Return </a:t>
            </a:r>
            <a:r>
              <a:rPr lang="de-DE" dirty="0" err="1"/>
              <a:t>Sleeve</a:t>
            </a:r>
            <a:r>
              <a:rPr lang="de-DE" dirty="0"/>
              <a:t>:	</a:t>
            </a:r>
            <a:r>
              <a:rPr lang="de-DE" baseline="0" dirty="0"/>
              <a:t>  </a:t>
            </a:r>
            <a:r>
              <a:rPr lang="de-DE" dirty="0"/>
              <a:t>POM --&gt; POM </a:t>
            </a:r>
            <a:r>
              <a:rPr lang="de-DE" dirty="0" err="1"/>
              <a:t>best</a:t>
            </a:r>
            <a:r>
              <a:rPr lang="de-DE" baseline="0" dirty="0"/>
              <a:t> </a:t>
            </a:r>
            <a:r>
              <a:rPr lang="de-DE" baseline="0" dirty="0" err="1"/>
              <a:t>tribo</a:t>
            </a:r>
            <a:r>
              <a:rPr lang="de-DE" baseline="0" dirty="0"/>
              <a:t>. Perf. </a:t>
            </a:r>
            <a:r>
              <a:rPr lang="de-DE" dirty="0"/>
              <a:t> --&gt; </a:t>
            </a:r>
            <a:r>
              <a:rPr lang="de-DE" dirty="0" err="1"/>
              <a:t>highest</a:t>
            </a:r>
            <a:r>
              <a:rPr lang="de-DE" dirty="0"/>
              <a:t> </a:t>
            </a:r>
            <a:r>
              <a:rPr lang="de-DE" dirty="0" err="1"/>
              <a:t>stiffness</a:t>
            </a:r>
            <a:r>
              <a:rPr lang="de-DE" dirty="0"/>
              <a:t> +</a:t>
            </a:r>
            <a:r>
              <a:rPr lang="de-DE" baseline="0" dirty="0"/>
              <a:t> </a:t>
            </a:r>
            <a:r>
              <a:rPr lang="de-DE" baseline="0" dirty="0" err="1"/>
              <a:t>tribo</a:t>
            </a:r>
            <a:endParaRPr lang="de-DE" baseline="0"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Driver:     POM --&gt; POM + PTFE  --&gt; POM </a:t>
            </a:r>
            <a:r>
              <a:rPr lang="de-DE" dirty="0" err="1"/>
              <a:t>best</a:t>
            </a:r>
            <a:r>
              <a:rPr lang="de-DE" baseline="0" dirty="0"/>
              <a:t> </a:t>
            </a:r>
            <a:r>
              <a:rPr lang="de-DE" baseline="0" dirty="0" err="1"/>
              <a:t>tribo</a:t>
            </a:r>
            <a:r>
              <a:rPr lang="de-DE" baseline="0" dirty="0"/>
              <a:t>. Perf. + </a:t>
            </a:r>
            <a:r>
              <a:rPr lang="de-DE" baseline="0" dirty="0" err="1"/>
              <a:t>better</a:t>
            </a:r>
            <a:r>
              <a:rPr lang="de-DE" baseline="0" dirty="0"/>
              <a:t> </a:t>
            </a:r>
            <a:r>
              <a:rPr lang="de-DE" baseline="0" dirty="0" err="1"/>
              <a:t>flow</a:t>
            </a:r>
            <a:endParaRPr lang="de-DE"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r>
              <a:rPr lang="de-DE" dirty="0"/>
              <a:t>Release:</a:t>
            </a:r>
            <a:r>
              <a:rPr lang="de-DE" baseline="0" dirty="0"/>
              <a:t>   </a:t>
            </a:r>
            <a:r>
              <a:rPr lang="de-DE" dirty="0"/>
              <a:t> PBT --&gt;  PBT --&gt; POM </a:t>
            </a:r>
            <a:r>
              <a:rPr lang="de-DE" dirty="0" err="1"/>
              <a:t>best</a:t>
            </a:r>
            <a:r>
              <a:rPr lang="de-DE" baseline="0" dirty="0"/>
              <a:t> </a:t>
            </a:r>
            <a:r>
              <a:rPr lang="de-DE" baseline="0" dirty="0" err="1"/>
              <a:t>tribo</a:t>
            </a:r>
            <a:r>
              <a:rPr lang="de-DE" baseline="0" dirty="0"/>
              <a:t>. Performance</a:t>
            </a:r>
          </a:p>
          <a:p>
            <a:endParaRPr lang="de-DE" dirty="0"/>
          </a:p>
          <a:p>
            <a:r>
              <a:rPr lang="de-DE" dirty="0"/>
              <a:t>Button:     POM --&gt; PBT + </a:t>
            </a:r>
            <a:r>
              <a:rPr lang="de-DE" dirty="0" err="1"/>
              <a:t>Wax</a:t>
            </a:r>
            <a:r>
              <a:rPr lang="de-DE" dirty="0"/>
              <a:t> (</a:t>
            </a:r>
            <a:r>
              <a:rPr lang="de-DE" dirty="0" err="1"/>
              <a:t>color</a:t>
            </a:r>
            <a:r>
              <a:rPr lang="de-DE" dirty="0"/>
              <a:t> perf. + </a:t>
            </a:r>
            <a:r>
              <a:rPr lang="de-DE" dirty="0" err="1"/>
              <a:t>tribo</a:t>
            </a:r>
            <a:r>
              <a:rPr lang="de-DE" dirty="0"/>
              <a:t>)</a:t>
            </a:r>
            <a:r>
              <a:rPr lang="de-DE" baseline="0" dirty="0"/>
              <a:t> </a:t>
            </a:r>
            <a:r>
              <a:rPr lang="de-DE" dirty="0"/>
              <a:t>--&gt; PBT + PTFE  (</a:t>
            </a:r>
            <a:r>
              <a:rPr lang="de-DE" dirty="0" err="1"/>
              <a:t>tribo</a:t>
            </a:r>
            <a:r>
              <a:rPr lang="de-DE" dirty="0"/>
              <a:t>++)</a:t>
            </a:r>
          </a:p>
          <a:p>
            <a:endParaRPr lang="de-DE" dirty="0"/>
          </a:p>
        </p:txBody>
      </p:sp>
      <p:sp>
        <p:nvSpPr>
          <p:cNvPr id="4" name="Foliennummernplatzhalter 3"/>
          <p:cNvSpPr>
            <a:spLocks noGrp="1"/>
          </p:cNvSpPr>
          <p:nvPr>
            <p:ph type="sldNum" sz="quarter" idx="10"/>
          </p:nvPr>
        </p:nvSpPr>
        <p:spPr/>
        <p:txBody>
          <a:bodyPr/>
          <a:lstStyle/>
          <a:p>
            <a:fld id="{8DEE08F1-44D4-41E5-A98A-D7AC8028A200}" type="slidenum">
              <a:rPr lang="en-US" smtClean="0"/>
              <a:t>9</a:t>
            </a:fld>
            <a:endParaRPr lang="en-US" dirty="0"/>
          </a:p>
        </p:txBody>
      </p:sp>
    </p:spTree>
    <p:extLst>
      <p:ext uri="{BB962C8B-B14F-4D97-AF65-F5344CB8AC3E}">
        <p14:creationId xmlns:p14="http://schemas.microsoft.com/office/powerpoint/2010/main" val="11649336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vmlDrawing" Target="../drawings/vmlDrawing4.v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p:spTree>
      <p:nvGrpSpPr>
        <p:cNvPr id="1" name=""/>
        <p:cNvGrpSpPr/>
        <p:nvPr/>
      </p:nvGrpSpPr>
      <p:grpSpPr>
        <a:xfrm>
          <a:off x="0" y="0"/>
          <a:ext cx="0" cy="0"/>
          <a:chOff x="0" y="0"/>
          <a:chExt cx="0" cy="0"/>
        </a:xfrm>
      </p:grpSpPr>
      <p:grpSp>
        <p:nvGrpSpPr>
          <p:cNvPr id="8" name="Gruppieren 7"/>
          <p:cNvGrpSpPr/>
          <p:nvPr/>
        </p:nvGrpSpPr>
        <p:grpSpPr>
          <a:xfrm>
            <a:off x="67505" y="2378975"/>
            <a:ext cx="9076495" cy="2764526"/>
            <a:chOff x="-1198563" y="1439863"/>
            <a:chExt cx="9974263" cy="3071812"/>
          </a:xfrm>
        </p:grpSpPr>
        <p:grpSp>
          <p:nvGrpSpPr>
            <p:cNvPr id="9" name="Gruppieren 8"/>
            <p:cNvGrpSpPr/>
            <p:nvPr/>
          </p:nvGrpSpPr>
          <p:grpSpPr>
            <a:xfrm>
              <a:off x="1689100" y="3344863"/>
              <a:ext cx="7086600" cy="1166812"/>
              <a:chOff x="1689100" y="3344863"/>
              <a:chExt cx="7086600" cy="1166812"/>
            </a:xfrm>
            <a:solidFill>
              <a:schemeClr val="accent2"/>
            </a:solidFill>
          </p:grpSpPr>
          <p:sp>
            <p:nvSpPr>
              <p:cNvPr id="22" name="Freeform 7"/>
              <p:cNvSpPr>
                <a:spLocks/>
              </p:cNvSpPr>
              <p:nvPr/>
            </p:nvSpPr>
            <p:spPr bwMode="auto">
              <a:xfrm>
                <a:off x="3641725" y="4413250"/>
                <a:ext cx="1905000" cy="98425"/>
              </a:xfrm>
              <a:custGeom>
                <a:avLst/>
                <a:gdLst>
                  <a:gd name="T0" fmla="*/ 0 w 508"/>
                  <a:gd name="T1" fmla="*/ 26 h 26"/>
                  <a:gd name="T2" fmla="*/ 30 w 508"/>
                  <a:gd name="T3" fmla="*/ 26 h 26"/>
                  <a:gd name="T4" fmla="*/ 480 w 508"/>
                  <a:gd name="T5" fmla="*/ 26 h 26"/>
                  <a:gd name="T6" fmla="*/ 508 w 508"/>
                  <a:gd name="T7" fmla="*/ 26 h 26"/>
                  <a:gd name="T8" fmla="*/ 0 w 508"/>
                  <a:gd name="T9" fmla="*/ 26 h 26"/>
                </a:gdLst>
                <a:ahLst/>
                <a:cxnLst>
                  <a:cxn ang="0">
                    <a:pos x="T0" y="T1"/>
                  </a:cxn>
                  <a:cxn ang="0">
                    <a:pos x="T2" y="T3"/>
                  </a:cxn>
                  <a:cxn ang="0">
                    <a:pos x="T4" y="T5"/>
                  </a:cxn>
                  <a:cxn ang="0">
                    <a:pos x="T6" y="T7"/>
                  </a:cxn>
                  <a:cxn ang="0">
                    <a:pos x="T8" y="T9"/>
                  </a:cxn>
                </a:cxnLst>
                <a:rect l="0" t="0" r="r" b="b"/>
                <a:pathLst>
                  <a:path w="508" h="26">
                    <a:moveTo>
                      <a:pt x="0" y="26"/>
                    </a:moveTo>
                    <a:cubicBezTo>
                      <a:pt x="30" y="26"/>
                      <a:pt x="30" y="26"/>
                      <a:pt x="30" y="26"/>
                    </a:cubicBezTo>
                    <a:cubicBezTo>
                      <a:pt x="191" y="6"/>
                      <a:pt x="329" y="6"/>
                      <a:pt x="480" y="26"/>
                    </a:cubicBezTo>
                    <a:cubicBezTo>
                      <a:pt x="508" y="26"/>
                      <a:pt x="508" y="26"/>
                      <a:pt x="508" y="26"/>
                    </a:cubicBezTo>
                    <a:cubicBezTo>
                      <a:pt x="337" y="0"/>
                      <a:pt x="184" y="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8"/>
              <p:cNvSpPr>
                <a:spLocks/>
              </p:cNvSpPr>
              <p:nvPr/>
            </p:nvSpPr>
            <p:spPr bwMode="auto">
              <a:xfrm>
                <a:off x="3181350" y="4270375"/>
                <a:ext cx="3108325" cy="241300"/>
              </a:xfrm>
              <a:custGeom>
                <a:avLst/>
                <a:gdLst>
                  <a:gd name="T0" fmla="*/ 0 w 829"/>
                  <a:gd name="T1" fmla="*/ 64 h 64"/>
                  <a:gd name="T2" fmla="*/ 21 w 829"/>
                  <a:gd name="T3" fmla="*/ 64 h 64"/>
                  <a:gd name="T4" fmla="*/ 810 w 829"/>
                  <a:gd name="T5" fmla="*/ 64 h 64"/>
                  <a:gd name="T6" fmla="*/ 829 w 829"/>
                  <a:gd name="T7" fmla="*/ 64 h 64"/>
                  <a:gd name="T8" fmla="*/ 0 w 829"/>
                  <a:gd name="T9" fmla="*/ 64 h 64"/>
                </a:gdLst>
                <a:ahLst/>
                <a:cxnLst>
                  <a:cxn ang="0">
                    <a:pos x="T0" y="T1"/>
                  </a:cxn>
                  <a:cxn ang="0">
                    <a:pos x="T2" y="T3"/>
                  </a:cxn>
                  <a:cxn ang="0">
                    <a:pos x="T4" y="T5"/>
                  </a:cxn>
                  <a:cxn ang="0">
                    <a:pos x="T6" y="T7"/>
                  </a:cxn>
                  <a:cxn ang="0">
                    <a:pos x="T8" y="T9"/>
                  </a:cxn>
                </a:cxnLst>
                <a:rect l="0" t="0" r="r" b="b"/>
                <a:pathLst>
                  <a:path w="829" h="64">
                    <a:moveTo>
                      <a:pt x="0" y="64"/>
                    </a:moveTo>
                    <a:cubicBezTo>
                      <a:pt x="21" y="64"/>
                      <a:pt x="21" y="64"/>
                      <a:pt x="21" y="64"/>
                    </a:cubicBezTo>
                    <a:cubicBezTo>
                      <a:pt x="322" y="6"/>
                      <a:pt x="540" y="6"/>
                      <a:pt x="810" y="64"/>
                    </a:cubicBezTo>
                    <a:cubicBezTo>
                      <a:pt x="829" y="64"/>
                      <a:pt x="829" y="64"/>
                      <a:pt x="829" y="64"/>
                    </a:cubicBezTo>
                    <a:cubicBezTo>
                      <a:pt x="544" y="1"/>
                      <a:pt x="319" y="0"/>
                      <a:pt x="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9"/>
              <p:cNvSpPr>
                <a:spLocks/>
              </p:cNvSpPr>
              <p:nvPr/>
            </p:nvSpPr>
            <p:spPr bwMode="auto">
              <a:xfrm>
                <a:off x="2854325" y="4110038"/>
                <a:ext cx="4046538" cy="401637"/>
              </a:xfrm>
              <a:custGeom>
                <a:avLst/>
                <a:gdLst>
                  <a:gd name="T0" fmla="*/ 534 w 1079"/>
                  <a:gd name="T1" fmla="*/ 31 h 107"/>
                  <a:gd name="T2" fmla="*/ 0 w 1079"/>
                  <a:gd name="T3" fmla="*/ 107 h 107"/>
                  <a:gd name="T4" fmla="*/ 17 w 1079"/>
                  <a:gd name="T5" fmla="*/ 107 h 107"/>
                  <a:gd name="T6" fmla="*/ 1063 w 1079"/>
                  <a:gd name="T7" fmla="*/ 107 h 107"/>
                  <a:gd name="T8" fmla="*/ 1079 w 1079"/>
                  <a:gd name="T9" fmla="*/ 107 h 107"/>
                  <a:gd name="T10" fmla="*/ 534 w 1079"/>
                  <a:gd name="T11" fmla="*/ 31 h 107"/>
                </a:gdLst>
                <a:ahLst/>
                <a:cxnLst>
                  <a:cxn ang="0">
                    <a:pos x="T0" y="T1"/>
                  </a:cxn>
                  <a:cxn ang="0">
                    <a:pos x="T2" y="T3"/>
                  </a:cxn>
                  <a:cxn ang="0">
                    <a:pos x="T4" y="T5"/>
                  </a:cxn>
                  <a:cxn ang="0">
                    <a:pos x="T6" y="T7"/>
                  </a:cxn>
                  <a:cxn ang="0">
                    <a:pos x="T8" y="T9"/>
                  </a:cxn>
                  <a:cxn ang="0">
                    <a:pos x="T10" y="T11"/>
                  </a:cxn>
                </a:cxnLst>
                <a:rect l="0" t="0" r="r" b="b"/>
                <a:pathLst>
                  <a:path w="1079" h="107">
                    <a:moveTo>
                      <a:pt x="534" y="31"/>
                    </a:moveTo>
                    <a:cubicBezTo>
                      <a:pt x="378" y="33"/>
                      <a:pt x="218" y="56"/>
                      <a:pt x="0" y="107"/>
                    </a:cubicBezTo>
                    <a:cubicBezTo>
                      <a:pt x="17" y="107"/>
                      <a:pt x="17" y="107"/>
                      <a:pt x="17" y="107"/>
                    </a:cubicBezTo>
                    <a:cubicBezTo>
                      <a:pt x="378" y="23"/>
                      <a:pt x="657" y="0"/>
                      <a:pt x="1063" y="107"/>
                    </a:cubicBezTo>
                    <a:cubicBezTo>
                      <a:pt x="1079" y="107"/>
                      <a:pt x="1079" y="107"/>
                      <a:pt x="1079" y="107"/>
                    </a:cubicBezTo>
                    <a:cubicBezTo>
                      <a:pt x="878" y="53"/>
                      <a:pt x="705" y="29"/>
                      <a:pt x="53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10"/>
              <p:cNvSpPr>
                <a:spLocks/>
              </p:cNvSpPr>
              <p:nvPr/>
            </p:nvSpPr>
            <p:spPr bwMode="auto">
              <a:xfrm>
                <a:off x="2576512" y="3929063"/>
                <a:ext cx="4883150" cy="582612"/>
              </a:xfrm>
              <a:custGeom>
                <a:avLst/>
                <a:gdLst>
                  <a:gd name="T0" fmla="*/ 0 w 1302"/>
                  <a:gd name="T1" fmla="*/ 155 h 155"/>
                  <a:gd name="T2" fmla="*/ 16 w 1302"/>
                  <a:gd name="T3" fmla="*/ 155 h 155"/>
                  <a:gd name="T4" fmla="*/ 1288 w 1302"/>
                  <a:gd name="T5" fmla="*/ 155 h 155"/>
                  <a:gd name="T6" fmla="*/ 1302 w 1302"/>
                  <a:gd name="T7" fmla="*/ 155 h 155"/>
                  <a:gd name="T8" fmla="*/ 0 w 1302"/>
                  <a:gd name="T9" fmla="*/ 155 h 155"/>
                </a:gdLst>
                <a:ahLst/>
                <a:cxnLst>
                  <a:cxn ang="0">
                    <a:pos x="T0" y="T1"/>
                  </a:cxn>
                  <a:cxn ang="0">
                    <a:pos x="T2" y="T3"/>
                  </a:cxn>
                  <a:cxn ang="0">
                    <a:pos x="T4" y="T5"/>
                  </a:cxn>
                  <a:cxn ang="0">
                    <a:pos x="T6" y="T7"/>
                  </a:cxn>
                  <a:cxn ang="0">
                    <a:pos x="T8" y="T9"/>
                  </a:cxn>
                </a:cxnLst>
                <a:rect l="0" t="0" r="r" b="b"/>
                <a:pathLst>
                  <a:path w="1302" h="155">
                    <a:moveTo>
                      <a:pt x="0" y="155"/>
                    </a:moveTo>
                    <a:cubicBezTo>
                      <a:pt x="16" y="155"/>
                      <a:pt x="16" y="155"/>
                      <a:pt x="16" y="155"/>
                    </a:cubicBezTo>
                    <a:cubicBezTo>
                      <a:pt x="478" y="36"/>
                      <a:pt x="792" y="7"/>
                      <a:pt x="1288" y="155"/>
                    </a:cubicBezTo>
                    <a:cubicBezTo>
                      <a:pt x="1302" y="155"/>
                      <a:pt x="1302" y="155"/>
                      <a:pt x="1302" y="155"/>
                    </a:cubicBezTo>
                    <a:cubicBezTo>
                      <a:pt x="792" y="0"/>
                      <a:pt x="475" y="32"/>
                      <a:pt x="0"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1"/>
              <p:cNvSpPr>
                <a:spLocks/>
              </p:cNvSpPr>
              <p:nvPr/>
            </p:nvSpPr>
            <p:spPr bwMode="auto">
              <a:xfrm>
                <a:off x="2333625" y="3798888"/>
                <a:ext cx="5654675" cy="712787"/>
              </a:xfrm>
              <a:custGeom>
                <a:avLst/>
                <a:gdLst>
                  <a:gd name="T0" fmla="*/ 751 w 1508"/>
                  <a:gd name="T1" fmla="*/ 57 h 190"/>
                  <a:gd name="T2" fmla="*/ 0 w 1508"/>
                  <a:gd name="T3" fmla="*/ 190 h 190"/>
                  <a:gd name="T4" fmla="*/ 15 w 1508"/>
                  <a:gd name="T5" fmla="*/ 190 h 190"/>
                  <a:gd name="T6" fmla="*/ 1495 w 1508"/>
                  <a:gd name="T7" fmla="*/ 190 h 190"/>
                  <a:gd name="T8" fmla="*/ 1508 w 1508"/>
                  <a:gd name="T9" fmla="*/ 190 h 190"/>
                  <a:gd name="T10" fmla="*/ 751 w 1508"/>
                  <a:gd name="T11" fmla="*/ 57 h 190"/>
                </a:gdLst>
                <a:ahLst/>
                <a:cxnLst>
                  <a:cxn ang="0">
                    <a:pos x="T0" y="T1"/>
                  </a:cxn>
                  <a:cxn ang="0">
                    <a:pos x="T2" y="T3"/>
                  </a:cxn>
                  <a:cxn ang="0">
                    <a:pos x="T4" y="T5"/>
                  </a:cxn>
                  <a:cxn ang="0">
                    <a:pos x="T6" y="T7"/>
                  </a:cxn>
                  <a:cxn ang="0">
                    <a:pos x="T8" y="T9"/>
                  </a:cxn>
                  <a:cxn ang="0">
                    <a:pos x="T10" y="T11"/>
                  </a:cxn>
                </a:cxnLst>
                <a:rect l="0" t="0" r="r" b="b"/>
                <a:pathLst>
                  <a:path w="1508" h="190">
                    <a:moveTo>
                      <a:pt x="751" y="57"/>
                    </a:moveTo>
                    <a:cubicBezTo>
                      <a:pt x="544" y="61"/>
                      <a:pt x="326" y="99"/>
                      <a:pt x="0" y="190"/>
                    </a:cubicBezTo>
                    <a:cubicBezTo>
                      <a:pt x="15" y="190"/>
                      <a:pt x="15" y="190"/>
                      <a:pt x="15" y="190"/>
                    </a:cubicBezTo>
                    <a:cubicBezTo>
                      <a:pt x="579" y="34"/>
                      <a:pt x="915" y="0"/>
                      <a:pt x="1495" y="190"/>
                    </a:cubicBezTo>
                    <a:cubicBezTo>
                      <a:pt x="1508" y="190"/>
                      <a:pt x="1508" y="190"/>
                      <a:pt x="1508" y="190"/>
                    </a:cubicBezTo>
                    <a:cubicBezTo>
                      <a:pt x="1217" y="94"/>
                      <a:pt x="984" y="53"/>
                      <a:pt x="75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2"/>
              <p:cNvSpPr>
                <a:spLocks/>
              </p:cNvSpPr>
              <p:nvPr/>
            </p:nvSpPr>
            <p:spPr bwMode="auto">
              <a:xfrm>
                <a:off x="2108200" y="3663950"/>
                <a:ext cx="6394450" cy="847725"/>
              </a:xfrm>
              <a:custGeom>
                <a:avLst/>
                <a:gdLst>
                  <a:gd name="T0" fmla="*/ 851 w 1705"/>
                  <a:gd name="T1" fmla="*/ 64 h 226"/>
                  <a:gd name="T2" fmla="*/ 0 w 1705"/>
                  <a:gd name="T3" fmla="*/ 226 h 226"/>
                  <a:gd name="T4" fmla="*/ 14 w 1705"/>
                  <a:gd name="T5" fmla="*/ 226 h 226"/>
                  <a:gd name="T6" fmla="*/ 1692 w 1705"/>
                  <a:gd name="T7" fmla="*/ 226 h 226"/>
                  <a:gd name="T8" fmla="*/ 1705 w 1705"/>
                  <a:gd name="T9" fmla="*/ 226 h 226"/>
                  <a:gd name="T10" fmla="*/ 851 w 1705"/>
                  <a:gd name="T11" fmla="*/ 64 h 226"/>
                </a:gdLst>
                <a:ahLst/>
                <a:cxnLst>
                  <a:cxn ang="0">
                    <a:pos x="T0" y="T1"/>
                  </a:cxn>
                  <a:cxn ang="0">
                    <a:pos x="T2" y="T3"/>
                  </a:cxn>
                  <a:cxn ang="0">
                    <a:pos x="T4" y="T5"/>
                  </a:cxn>
                  <a:cxn ang="0">
                    <a:pos x="T6" y="T7"/>
                  </a:cxn>
                  <a:cxn ang="0">
                    <a:pos x="T8" y="T9"/>
                  </a:cxn>
                  <a:cxn ang="0">
                    <a:pos x="T10" y="T11"/>
                  </a:cxn>
                </a:cxnLst>
                <a:rect l="0" t="0" r="r" b="b"/>
                <a:pathLst>
                  <a:path w="1705" h="226">
                    <a:moveTo>
                      <a:pt x="851" y="64"/>
                    </a:moveTo>
                    <a:cubicBezTo>
                      <a:pt x="583" y="70"/>
                      <a:pt x="317" y="133"/>
                      <a:pt x="0" y="226"/>
                    </a:cubicBezTo>
                    <a:cubicBezTo>
                      <a:pt x="14" y="226"/>
                      <a:pt x="14" y="226"/>
                      <a:pt x="14" y="226"/>
                    </a:cubicBezTo>
                    <a:cubicBezTo>
                      <a:pt x="687" y="29"/>
                      <a:pt x="1047" y="0"/>
                      <a:pt x="1692" y="226"/>
                    </a:cubicBezTo>
                    <a:cubicBezTo>
                      <a:pt x="1705" y="226"/>
                      <a:pt x="1705" y="226"/>
                      <a:pt x="1705" y="226"/>
                    </a:cubicBezTo>
                    <a:cubicBezTo>
                      <a:pt x="1373" y="109"/>
                      <a:pt x="1110" y="59"/>
                      <a:pt x="85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3"/>
              <p:cNvSpPr>
                <a:spLocks/>
              </p:cNvSpPr>
              <p:nvPr/>
            </p:nvSpPr>
            <p:spPr bwMode="auto">
              <a:xfrm>
                <a:off x="1895475" y="3524250"/>
                <a:ext cx="6880225" cy="987425"/>
              </a:xfrm>
              <a:custGeom>
                <a:avLst/>
                <a:gdLst>
                  <a:gd name="T0" fmla="*/ 1835 w 1835"/>
                  <a:gd name="T1" fmla="*/ 241 h 263"/>
                  <a:gd name="T2" fmla="*/ 924 w 1835"/>
                  <a:gd name="T3" fmla="*/ 74 h 263"/>
                  <a:gd name="T4" fmla="*/ 0 w 1835"/>
                  <a:gd name="T5" fmla="*/ 263 h 263"/>
                  <a:gd name="T6" fmla="*/ 13 w 1835"/>
                  <a:gd name="T7" fmla="*/ 263 h 263"/>
                  <a:gd name="T8" fmla="*/ 1835 w 1835"/>
                  <a:gd name="T9" fmla="*/ 246 h 263"/>
                  <a:gd name="T10" fmla="*/ 1835 w 1835"/>
                  <a:gd name="T11" fmla="*/ 241 h 263"/>
                </a:gdLst>
                <a:ahLst/>
                <a:cxnLst>
                  <a:cxn ang="0">
                    <a:pos x="T0" y="T1"/>
                  </a:cxn>
                  <a:cxn ang="0">
                    <a:pos x="T2" y="T3"/>
                  </a:cxn>
                  <a:cxn ang="0">
                    <a:pos x="T4" y="T5"/>
                  </a:cxn>
                  <a:cxn ang="0">
                    <a:pos x="T6" y="T7"/>
                  </a:cxn>
                  <a:cxn ang="0">
                    <a:pos x="T8" y="T9"/>
                  </a:cxn>
                  <a:cxn ang="0">
                    <a:pos x="T10" y="T11"/>
                  </a:cxn>
                </a:cxnLst>
                <a:rect l="0" t="0" r="r" b="b"/>
                <a:pathLst>
                  <a:path w="1835" h="263">
                    <a:moveTo>
                      <a:pt x="1835" y="241"/>
                    </a:moveTo>
                    <a:cubicBezTo>
                      <a:pt x="1484" y="116"/>
                      <a:pt x="1203" y="64"/>
                      <a:pt x="924" y="74"/>
                    </a:cubicBezTo>
                    <a:cubicBezTo>
                      <a:pt x="639" y="83"/>
                      <a:pt x="348" y="156"/>
                      <a:pt x="0" y="263"/>
                    </a:cubicBezTo>
                    <a:cubicBezTo>
                      <a:pt x="13" y="263"/>
                      <a:pt x="13" y="263"/>
                      <a:pt x="13" y="263"/>
                    </a:cubicBezTo>
                    <a:cubicBezTo>
                      <a:pt x="757" y="36"/>
                      <a:pt x="1148" y="0"/>
                      <a:pt x="1835" y="246"/>
                    </a:cubicBezTo>
                    <a:lnTo>
                      <a:pt x="1835"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4"/>
              <p:cNvSpPr>
                <a:spLocks/>
              </p:cNvSpPr>
              <p:nvPr/>
            </p:nvSpPr>
            <p:spPr bwMode="auto">
              <a:xfrm>
                <a:off x="1689100" y="3344863"/>
                <a:ext cx="7086600" cy="1166812"/>
              </a:xfrm>
              <a:custGeom>
                <a:avLst/>
                <a:gdLst>
                  <a:gd name="T0" fmla="*/ 1890 w 1890"/>
                  <a:gd name="T1" fmla="*/ 241 h 311"/>
                  <a:gd name="T2" fmla="*/ 966 w 1890"/>
                  <a:gd name="T3" fmla="*/ 96 h 311"/>
                  <a:gd name="T4" fmla="*/ 0 w 1890"/>
                  <a:gd name="T5" fmla="*/ 311 h 311"/>
                  <a:gd name="T6" fmla="*/ 13 w 1890"/>
                  <a:gd name="T7" fmla="*/ 311 h 311"/>
                  <a:gd name="T8" fmla="*/ 1890 w 1890"/>
                  <a:gd name="T9" fmla="*/ 246 h 311"/>
                  <a:gd name="T10" fmla="*/ 1890 w 1890"/>
                  <a:gd name="T11" fmla="*/ 241 h 311"/>
                </a:gdLst>
                <a:ahLst/>
                <a:cxnLst>
                  <a:cxn ang="0">
                    <a:pos x="T0" y="T1"/>
                  </a:cxn>
                  <a:cxn ang="0">
                    <a:pos x="T2" y="T3"/>
                  </a:cxn>
                  <a:cxn ang="0">
                    <a:pos x="T4" y="T5"/>
                  </a:cxn>
                  <a:cxn ang="0">
                    <a:pos x="T6" y="T7"/>
                  </a:cxn>
                  <a:cxn ang="0">
                    <a:pos x="T8" y="T9"/>
                  </a:cxn>
                  <a:cxn ang="0">
                    <a:pos x="T10" y="T11"/>
                  </a:cxn>
                </a:cxnLst>
                <a:rect l="0" t="0" r="r" b="b"/>
                <a:pathLst>
                  <a:path w="1890" h="311">
                    <a:moveTo>
                      <a:pt x="1890" y="241"/>
                    </a:moveTo>
                    <a:cubicBezTo>
                      <a:pt x="1542" y="123"/>
                      <a:pt x="1257" y="78"/>
                      <a:pt x="966" y="96"/>
                    </a:cubicBezTo>
                    <a:cubicBezTo>
                      <a:pt x="673" y="113"/>
                      <a:pt x="368" y="194"/>
                      <a:pt x="0" y="311"/>
                    </a:cubicBezTo>
                    <a:cubicBezTo>
                      <a:pt x="13" y="311"/>
                      <a:pt x="13" y="311"/>
                      <a:pt x="13" y="311"/>
                    </a:cubicBezTo>
                    <a:cubicBezTo>
                      <a:pt x="741" y="81"/>
                      <a:pt x="1168" y="0"/>
                      <a:pt x="1890" y="246"/>
                    </a:cubicBezTo>
                    <a:lnTo>
                      <a:pt x="189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grpSp>
          <p:nvGrpSpPr>
            <p:cNvPr id="10" name="Gruppieren 9"/>
            <p:cNvGrpSpPr/>
            <p:nvPr/>
          </p:nvGrpSpPr>
          <p:grpSpPr>
            <a:xfrm>
              <a:off x="-1198563" y="1439863"/>
              <a:ext cx="9974263" cy="3071812"/>
              <a:chOff x="-1198563" y="1439863"/>
              <a:chExt cx="9974263" cy="3071812"/>
            </a:xfrm>
          </p:grpSpPr>
          <p:sp>
            <p:nvSpPr>
              <p:cNvPr id="20" name="Freeform 6"/>
              <p:cNvSpPr>
                <a:spLocks/>
              </p:cNvSpPr>
              <p:nvPr/>
            </p:nvSpPr>
            <p:spPr bwMode="auto">
              <a:xfrm>
                <a:off x="-677863" y="3094038"/>
                <a:ext cx="9453563" cy="1417637"/>
              </a:xfrm>
              <a:custGeom>
                <a:avLst/>
                <a:gdLst>
                  <a:gd name="T0" fmla="*/ 2521 w 2521"/>
                  <a:gd name="T1" fmla="*/ 220 h 378"/>
                  <a:gd name="T2" fmla="*/ 1724 w 2521"/>
                  <a:gd name="T3" fmla="*/ 38 h 378"/>
                  <a:gd name="T4" fmla="*/ 2521 w 2521"/>
                  <a:gd name="T5" fmla="*/ 164 h 378"/>
                  <a:gd name="T6" fmla="*/ 1716 w 2521"/>
                  <a:gd name="T7" fmla="*/ 30 h 378"/>
                  <a:gd name="T8" fmla="*/ 1553 w 2521"/>
                  <a:gd name="T9" fmla="*/ 41 h 378"/>
                  <a:gd name="T10" fmla="*/ 1501 w 2521"/>
                  <a:gd name="T11" fmla="*/ 41 h 378"/>
                  <a:gd name="T12" fmla="*/ 1449 w 2521"/>
                  <a:gd name="T13" fmla="*/ 36 h 378"/>
                  <a:gd name="T14" fmla="*/ 986 w 2521"/>
                  <a:gd name="T15" fmla="*/ 35 h 378"/>
                  <a:gd name="T16" fmla="*/ 0 w 2521"/>
                  <a:gd name="T17" fmla="*/ 378 h 378"/>
                  <a:gd name="T18" fmla="*/ 647 w 2521"/>
                  <a:gd name="T19" fmla="*/ 162 h 378"/>
                  <a:gd name="T20" fmla="*/ 1350 w 2521"/>
                  <a:gd name="T21" fmla="*/ 24 h 378"/>
                  <a:gd name="T22" fmla="*/ 666 w 2521"/>
                  <a:gd name="T23" fmla="*/ 169 h 378"/>
                  <a:gd name="T24" fmla="*/ 64 w 2521"/>
                  <a:gd name="T25" fmla="*/ 378 h 378"/>
                  <a:gd name="T26" fmla="*/ 996 w 2521"/>
                  <a:gd name="T27" fmla="*/ 54 h 378"/>
                  <a:gd name="T28" fmla="*/ 1005 w 2521"/>
                  <a:gd name="T29" fmla="*/ 65 h 378"/>
                  <a:gd name="T30" fmla="*/ 94 w 2521"/>
                  <a:gd name="T31" fmla="*/ 378 h 378"/>
                  <a:gd name="T32" fmla="*/ 688 w 2521"/>
                  <a:gd name="T33" fmla="*/ 183 h 378"/>
                  <a:gd name="T34" fmla="*/ 1412 w 2521"/>
                  <a:gd name="T35" fmla="*/ 36 h 378"/>
                  <a:gd name="T36" fmla="*/ 707 w 2521"/>
                  <a:gd name="T37" fmla="*/ 190 h 378"/>
                  <a:gd name="T38" fmla="*/ 159 w 2521"/>
                  <a:gd name="T39" fmla="*/ 378 h 378"/>
                  <a:gd name="T40" fmla="*/ 1015 w 2521"/>
                  <a:gd name="T41" fmla="*/ 84 h 378"/>
                  <a:gd name="T42" fmla="*/ 1024 w 2521"/>
                  <a:gd name="T43" fmla="*/ 95 h 378"/>
                  <a:gd name="T44" fmla="*/ 189 w 2521"/>
                  <a:gd name="T45" fmla="*/ 378 h 378"/>
                  <a:gd name="T46" fmla="*/ 729 w 2521"/>
                  <a:gd name="T47" fmla="*/ 204 h 378"/>
                  <a:gd name="T48" fmla="*/ 1453 w 2521"/>
                  <a:gd name="T49" fmla="*/ 43 h 378"/>
                  <a:gd name="T50" fmla="*/ 1033 w 2521"/>
                  <a:gd name="T51" fmla="*/ 110 h 378"/>
                  <a:gd name="T52" fmla="*/ 237 w 2521"/>
                  <a:gd name="T53" fmla="*/ 378 h 378"/>
                  <a:gd name="T54" fmla="*/ 749 w 2521"/>
                  <a:gd name="T55" fmla="*/ 215 h 378"/>
                  <a:gd name="T56" fmla="*/ 1470 w 2521"/>
                  <a:gd name="T57" fmla="*/ 47 h 378"/>
                  <a:gd name="T58" fmla="*/ 1043 w 2521"/>
                  <a:gd name="T59" fmla="*/ 125 h 378"/>
                  <a:gd name="T60" fmla="*/ 285 w 2521"/>
                  <a:gd name="T61" fmla="*/ 378 h 378"/>
                  <a:gd name="T62" fmla="*/ 769 w 2521"/>
                  <a:gd name="T63" fmla="*/ 226 h 378"/>
                  <a:gd name="T64" fmla="*/ 1484 w 2521"/>
                  <a:gd name="T65" fmla="*/ 51 h 378"/>
                  <a:gd name="T66" fmla="*/ 1052 w 2521"/>
                  <a:gd name="T67" fmla="*/ 139 h 378"/>
                  <a:gd name="T68" fmla="*/ 333 w 2521"/>
                  <a:gd name="T69" fmla="*/ 378 h 378"/>
                  <a:gd name="T70" fmla="*/ 789 w 2521"/>
                  <a:gd name="T71" fmla="*/ 237 h 378"/>
                  <a:gd name="T72" fmla="*/ 1494 w 2521"/>
                  <a:gd name="T73" fmla="*/ 53 h 378"/>
                  <a:gd name="T74" fmla="*/ 2134 w 2521"/>
                  <a:gd name="T75" fmla="*/ 378 h 378"/>
                  <a:gd name="T76" fmla="*/ 1506 w 2521"/>
                  <a:gd name="T77" fmla="*/ 52 h 378"/>
                  <a:gd name="T78" fmla="*/ 2224 w 2521"/>
                  <a:gd name="T79" fmla="*/ 378 h 378"/>
                  <a:gd name="T80" fmla="*/ 2230 w 2521"/>
                  <a:gd name="T81" fmla="*/ 378 h 378"/>
                  <a:gd name="T82" fmla="*/ 1522 w 2521"/>
                  <a:gd name="T83" fmla="*/ 50 h 378"/>
                  <a:gd name="T84" fmla="*/ 2329 w 2521"/>
                  <a:gd name="T85" fmla="*/ 378 h 378"/>
                  <a:gd name="T86" fmla="*/ 2335 w 2521"/>
                  <a:gd name="T87" fmla="*/ 378 h 378"/>
                  <a:gd name="T88" fmla="*/ 1545 w 2521"/>
                  <a:gd name="T89" fmla="*/ 49 h 378"/>
                  <a:gd name="T90" fmla="*/ 2445 w 2521"/>
                  <a:gd name="T91" fmla="*/ 378 h 378"/>
                  <a:gd name="T92" fmla="*/ 1722 w 2521"/>
                  <a:gd name="T93" fmla="*/ 71 h 378"/>
                  <a:gd name="T94" fmla="*/ 1559 w 2521"/>
                  <a:gd name="T95" fmla="*/ 46 h 378"/>
                  <a:gd name="T96" fmla="*/ 2521 w 2521"/>
                  <a:gd name="T97" fmla="*/ 349 h 378"/>
                  <a:gd name="T98" fmla="*/ 1593 w 2521"/>
                  <a:gd name="T99" fmla="*/ 45 h 378"/>
                  <a:gd name="T100" fmla="*/ 2521 w 2521"/>
                  <a:gd name="T101" fmla="*/ 278 h 378"/>
                  <a:gd name="T102" fmla="*/ 1638 w 2521"/>
                  <a:gd name="T103" fmla="*/ 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1" h="378">
                    <a:moveTo>
                      <a:pt x="1638" y="42"/>
                    </a:moveTo>
                    <a:cubicBezTo>
                      <a:pt x="1950" y="36"/>
                      <a:pt x="2246" y="95"/>
                      <a:pt x="2521" y="220"/>
                    </a:cubicBezTo>
                    <a:cubicBezTo>
                      <a:pt x="2521" y="215"/>
                      <a:pt x="2521" y="215"/>
                      <a:pt x="2521" y="215"/>
                    </a:cubicBezTo>
                    <a:cubicBezTo>
                      <a:pt x="2271" y="103"/>
                      <a:pt x="2003" y="43"/>
                      <a:pt x="1724" y="38"/>
                    </a:cubicBezTo>
                    <a:cubicBezTo>
                      <a:pt x="1700" y="37"/>
                      <a:pt x="1675" y="37"/>
                      <a:pt x="1650" y="38"/>
                    </a:cubicBezTo>
                    <a:cubicBezTo>
                      <a:pt x="1920" y="19"/>
                      <a:pt x="2211" y="46"/>
                      <a:pt x="2521" y="164"/>
                    </a:cubicBezTo>
                    <a:cubicBezTo>
                      <a:pt x="2521" y="160"/>
                      <a:pt x="2521" y="160"/>
                      <a:pt x="2521" y="160"/>
                    </a:cubicBezTo>
                    <a:cubicBezTo>
                      <a:pt x="2264" y="62"/>
                      <a:pt x="2001" y="20"/>
                      <a:pt x="1716" y="30"/>
                    </a:cubicBezTo>
                    <a:cubicBezTo>
                      <a:pt x="1669" y="32"/>
                      <a:pt x="1623" y="36"/>
                      <a:pt x="1579" y="40"/>
                    </a:cubicBezTo>
                    <a:cubicBezTo>
                      <a:pt x="1570" y="40"/>
                      <a:pt x="1562" y="41"/>
                      <a:pt x="1553" y="41"/>
                    </a:cubicBezTo>
                    <a:cubicBezTo>
                      <a:pt x="1545" y="41"/>
                      <a:pt x="1537" y="41"/>
                      <a:pt x="1530" y="41"/>
                    </a:cubicBezTo>
                    <a:cubicBezTo>
                      <a:pt x="1520" y="41"/>
                      <a:pt x="1511" y="41"/>
                      <a:pt x="1501" y="41"/>
                    </a:cubicBezTo>
                    <a:cubicBezTo>
                      <a:pt x="1492" y="40"/>
                      <a:pt x="1483" y="39"/>
                      <a:pt x="1475" y="39"/>
                    </a:cubicBezTo>
                    <a:cubicBezTo>
                      <a:pt x="1466" y="38"/>
                      <a:pt x="1457" y="37"/>
                      <a:pt x="1449" y="36"/>
                    </a:cubicBezTo>
                    <a:cubicBezTo>
                      <a:pt x="1441" y="35"/>
                      <a:pt x="1433" y="34"/>
                      <a:pt x="1426" y="33"/>
                    </a:cubicBezTo>
                    <a:cubicBezTo>
                      <a:pt x="1267" y="0"/>
                      <a:pt x="1117" y="1"/>
                      <a:pt x="986" y="35"/>
                    </a:cubicBezTo>
                    <a:cubicBezTo>
                      <a:pt x="892" y="60"/>
                      <a:pt x="777" y="106"/>
                      <a:pt x="645" y="158"/>
                    </a:cubicBezTo>
                    <a:cubicBezTo>
                      <a:pt x="455" y="234"/>
                      <a:pt x="239" y="319"/>
                      <a:pt x="0" y="378"/>
                    </a:cubicBezTo>
                    <a:cubicBezTo>
                      <a:pt x="17" y="378"/>
                      <a:pt x="17" y="378"/>
                      <a:pt x="17" y="378"/>
                    </a:cubicBezTo>
                    <a:cubicBezTo>
                      <a:pt x="250" y="319"/>
                      <a:pt x="460" y="236"/>
                      <a:pt x="647" y="162"/>
                    </a:cubicBezTo>
                    <a:cubicBezTo>
                      <a:pt x="779" y="109"/>
                      <a:pt x="893" y="64"/>
                      <a:pt x="987" y="39"/>
                    </a:cubicBezTo>
                    <a:cubicBezTo>
                      <a:pt x="1102" y="9"/>
                      <a:pt x="1226" y="6"/>
                      <a:pt x="1350" y="24"/>
                    </a:cubicBezTo>
                    <a:cubicBezTo>
                      <a:pt x="1223" y="13"/>
                      <a:pt x="1103" y="22"/>
                      <a:pt x="995" y="50"/>
                    </a:cubicBezTo>
                    <a:cubicBezTo>
                      <a:pt x="901" y="75"/>
                      <a:pt x="792" y="118"/>
                      <a:pt x="666" y="169"/>
                    </a:cubicBezTo>
                    <a:cubicBezTo>
                      <a:pt x="485" y="241"/>
                      <a:pt x="280" y="322"/>
                      <a:pt x="47" y="378"/>
                    </a:cubicBezTo>
                    <a:cubicBezTo>
                      <a:pt x="64" y="378"/>
                      <a:pt x="64" y="378"/>
                      <a:pt x="64" y="378"/>
                    </a:cubicBezTo>
                    <a:cubicBezTo>
                      <a:pt x="290" y="322"/>
                      <a:pt x="490" y="243"/>
                      <a:pt x="667" y="172"/>
                    </a:cubicBezTo>
                    <a:cubicBezTo>
                      <a:pt x="794" y="122"/>
                      <a:pt x="903" y="79"/>
                      <a:pt x="996" y="54"/>
                    </a:cubicBezTo>
                    <a:cubicBezTo>
                      <a:pt x="1116" y="23"/>
                      <a:pt x="1244" y="17"/>
                      <a:pt x="1373" y="30"/>
                    </a:cubicBezTo>
                    <a:cubicBezTo>
                      <a:pt x="1242" y="24"/>
                      <a:pt x="1118" y="35"/>
                      <a:pt x="1005" y="65"/>
                    </a:cubicBezTo>
                    <a:cubicBezTo>
                      <a:pt x="911" y="90"/>
                      <a:pt x="807" y="131"/>
                      <a:pt x="687" y="179"/>
                    </a:cubicBezTo>
                    <a:cubicBezTo>
                      <a:pt x="515" y="248"/>
                      <a:pt x="320" y="325"/>
                      <a:pt x="94" y="378"/>
                    </a:cubicBezTo>
                    <a:cubicBezTo>
                      <a:pt x="112" y="378"/>
                      <a:pt x="112" y="378"/>
                      <a:pt x="112" y="378"/>
                    </a:cubicBezTo>
                    <a:cubicBezTo>
                      <a:pt x="331" y="325"/>
                      <a:pt x="520" y="250"/>
                      <a:pt x="688" y="183"/>
                    </a:cubicBezTo>
                    <a:cubicBezTo>
                      <a:pt x="809" y="135"/>
                      <a:pt x="913" y="93"/>
                      <a:pt x="1006" y="69"/>
                    </a:cubicBezTo>
                    <a:cubicBezTo>
                      <a:pt x="1131" y="36"/>
                      <a:pt x="1269" y="26"/>
                      <a:pt x="1412" y="36"/>
                    </a:cubicBezTo>
                    <a:cubicBezTo>
                      <a:pt x="1272" y="33"/>
                      <a:pt x="1138" y="48"/>
                      <a:pt x="1014" y="80"/>
                    </a:cubicBezTo>
                    <a:cubicBezTo>
                      <a:pt x="921" y="104"/>
                      <a:pt x="822" y="144"/>
                      <a:pt x="707" y="190"/>
                    </a:cubicBezTo>
                    <a:cubicBezTo>
                      <a:pt x="545" y="255"/>
                      <a:pt x="360" y="328"/>
                      <a:pt x="142" y="378"/>
                    </a:cubicBezTo>
                    <a:cubicBezTo>
                      <a:pt x="159" y="378"/>
                      <a:pt x="159" y="378"/>
                      <a:pt x="159" y="378"/>
                    </a:cubicBezTo>
                    <a:cubicBezTo>
                      <a:pt x="371" y="328"/>
                      <a:pt x="550" y="257"/>
                      <a:pt x="709" y="194"/>
                    </a:cubicBezTo>
                    <a:cubicBezTo>
                      <a:pt x="823" y="148"/>
                      <a:pt x="922" y="108"/>
                      <a:pt x="1015" y="84"/>
                    </a:cubicBezTo>
                    <a:cubicBezTo>
                      <a:pt x="1143" y="50"/>
                      <a:pt x="1281" y="36"/>
                      <a:pt x="1423" y="41"/>
                    </a:cubicBezTo>
                    <a:cubicBezTo>
                      <a:pt x="1285" y="44"/>
                      <a:pt x="1150" y="62"/>
                      <a:pt x="1024" y="95"/>
                    </a:cubicBezTo>
                    <a:cubicBezTo>
                      <a:pt x="931" y="119"/>
                      <a:pt x="832" y="159"/>
                      <a:pt x="728" y="201"/>
                    </a:cubicBezTo>
                    <a:cubicBezTo>
                      <a:pt x="574" y="262"/>
                      <a:pt x="401" y="331"/>
                      <a:pt x="189" y="378"/>
                    </a:cubicBezTo>
                    <a:cubicBezTo>
                      <a:pt x="208" y="378"/>
                      <a:pt x="208" y="378"/>
                      <a:pt x="208" y="378"/>
                    </a:cubicBezTo>
                    <a:cubicBezTo>
                      <a:pt x="411" y="331"/>
                      <a:pt x="580" y="264"/>
                      <a:pt x="729" y="204"/>
                    </a:cubicBezTo>
                    <a:cubicBezTo>
                      <a:pt x="834" y="163"/>
                      <a:pt x="932" y="123"/>
                      <a:pt x="1025" y="99"/>
                    </a:cubicBezTo>
                    <a:cubicBezTo>
                      <a:pt x="1163" y="62"/>
                      <a:pt x="1307" y="44"/>
                      <a:pt x="1453" y="43"/>
                    </a:cubicBezTo>
                    <a:cubicBezTo>
                      <a:pt x="1455" y="43"/>
                      <a:pt x="1456" y="44"/>
                      <a:pt x="1457" y="44"/>
                    </a:cubicBezTo>
                    <a:cubicBezTo>
                      <a:pt x="1314" y="52"/>
                      <a:pt x="1170" y="74"/>
                      <a:pt x="1033" y="110"/>
                    </a:cubicBezTo>
                    <a:cubicBezTo>
                      <a:pt x="941" y="134"/>
                      <a:pt x="847" y="172"/>
                      <a:pt x="748" y="211"/>
                    </a:cubicBezTo>
                    <a:cubicBezTo>
                      <a:pt x="604" y="269"/>
                      <a:pt x="441" y="334"/>
                      <a:pt x="237" y="378"/>
                    </a:cubicBezTo>
                    <a:cubicBezTo>
                      <a:pt x="256" y="378"/>
                      <a:pt x="256" y="378"/>
                      <a:pt x="256" y="378"/>
                    </a:cubicBezTo>
                    <a:cubicBezTo>
                      <a:pt x="452" y="334"/>
                      <a:pt x="609" y="271"/>
                      <a:pt x="749" y="215"/>
                    </a:cubicBezTo>
                    <a:cubicBezTo>
                      <a:pt x="848" y="175"/>
                      <a:pt x="942" y="138"/>
                      <a:pt x="1034" y="114"/>
                    </a:cubicBezTo>
                    <a:cubicBezTo>
                      <a:pt x="1144" y="85"/>
                      <a:pt x="1294" y="56"/>
                      <a:pt x="1470" y="47"/>
                    </a:cubicBezTo>
                    <a:cubicBezTo>
                      <a:pt x="1470" y="47"/>
                      <a:pt x="1471" y="47"/>
                      <a:pt x="1471" y="47"/>
                    </a:cubicBezTo>
                    <a:cubicBezTo>
                      <a:pt x="1332" y="61"/>
                      <a:pt x="1188" y="86"/>
                      <a:pt x="1043" y="125"/>
                    </a:cubicBezTo>
                    <a:cubicBezTo>
                      <a:pt x="951" y="149"/>
                      <a:pt x="862" y="184"/>
                      <a:pt x="768" y="222"/>
                    </a:cubicBezTo>
                    <a:cubicBezTo>
                      <a:pt x="633" y="276"/>
                      <a:pt x="481" y="337"/>
                      <a:pt x="285" y="378"/>
                    </a:cubicBezTo>
                    <a:cubicBezTo>
                      <a:pt x="304" y="378"/>
                      <a:pt x="304" y="378"/>
                      <a:pt x="304" y="378"/>
                    </a:cubicBezTo>
                    <a:cubicBezTo>
                      <a:pt x="492" y="337"/>
                      <a:pt x="639" y="278"/>
                      <a:pt x="769" y="226"/>
                    </a:cubicBezTo>
                    <a:cubicBezTo>
                      <a:pt x="863" y="188"/>
                      <a:pt x="952" y="153"/>
                      <a:pt x="1044" y="128"/>
                    </a:cubicBezTo>
                    <a:cubicBezTo>
                      <a:pt x="1194" y="89"/>
                      <a:pt x="1340" y="63"/>
                      <a:pt x="1484" y="51"/>
                    </a:cubicBezTo>
                    <a:cubicBezTo>
                      <a:pt x="1484" y="51"/>
                      <a:pt x="1484" y="51"/>
                      <a:pt x="1484" y="51"/>
                    </a:cubicBezTo>
                    <a:cubicBezTo>
                      <a:pt x="1320" y="73"/>
                      <a:pt x="1172" y="108"/>
                      <a:pt x="1052" y="139"/>
                    </a:cubicBezTo>
                    <a:cubicBezTo>
                      <a:pt x="960" y="164"/>
                      <a:pt x="876" y="197"/>
                      <a:pt x="788" y="233"/>
                    </a:cubicBezTo>
                    <a:cubicBezTo>
                      <a:pt x="663" y="284"/>
                      <a:pt x="521" y="340"/>
                      <a:pt x="333" y="378"/>
                    </a:cubicBezTo>
                    <a:cubicBezTo>
                      <a:pt x="353" y="378"/>
                      <a:pt x="353" y="378"/>
                      <a:pt x="353" y="378"/>
                    </a:cubicBezTo>
                    <a:cubicBezTo>
                      <a:pt x="532" y="340"/>
                      <a:pt x="668" y="286"/>
                      <a:pt x="789" y="237"/>
                    </a:cubicBezTo>
                    <a:cubicBezTo>
                      <a:pt x="878" y="201"/>
                      <a:pt x="962" y="167"/>
                      <a:pt x="1054" y="143"/>
                    </a:cubicBezTo>
                    <a:cubicBezTo>
                      <a:pt x="1191" y="107"/>
                      <a:pt x="1339" y="74"/>
                      <a:pt x="1494" y="53"/>
                    </a:cubicBezTo>
                    <a:cubicBezTo>
                      <a:pt x="1729" y="115"/>
                      <a:pt x="1957" y="239"/>
                      <a:pt x="2128" y="378"/>
                    </a:cubicBezTo>
                    <a:cubicBezTo>
                      <a:pt x="2134" y="378"/>
                      <a:pt x="2134" y="378"/>
                      <a:pt x="2134" y="378"/>
                    </a:cubicBezTo>
                    <a:cubicBezTo>
                      <a:pt x="1974" y="247"/>
                      <a:pt x="1780" y="140"/>
                      <a:pt x="1587" y="76"/>
                    </a:cubicBezTo>
                    <a:cubicBezTo>
                      <a:pt x="1560" y="67"/>
                      <a:pt x="1533" y="59"/>
                      <a:pt x="1506" y="52"/>
                    </a:cubicBezTo>
                    <a:cubicBezTo>
                      <a:pt x="1507" y="52"/>
                      <a:pt x="1507" y="52"/>
                      <a:pt x="1508" y="51"/>
                    </a:cubicBezTo>
                    <a:cubicBezTo>
                      <a:pt x="1773" y="106"/>
                      <a:pt x="2032" y="233"/>
                      <a:pt x="2224" y="378"/>
                    </a:cubicBezTo>
                    <a:cubicBezTo>
                      <a:pt x="2230" y="378"/>
                      <a:pt x="2230" y="378"/>
                      <a:pt x="2230" y="378"/>
                    </a:cubicBezTo>
                    <a:cubicBezTo>
                      <a:pt x="2230" y="378"/>
                      <a:pt x="2230" y="378"/>
                      <a:pt x="2230" y="378"/>
                    </a:cubicBezTo>
                    <a:cubicBezTo>
                      <a:pt x="2054" y="244"/>
                      <a:pt x="1841" y="137"/>
                      <a:pt x="1631" y="77"/>
                    </a:cubicBezTo>
                    <a:cubicBezTo>
                      <a:pt x="1594" y="66"/>
                      <a:pt x="1558" y="57"/>
                      <a:pt x="1522" y="50"/>
                    </a:cubicBezTo>
                    <a:cubicBezTo>
                      <a:pt x="1524" y="50"/>
                      <a:pt x="1525" y="49"/>
                      <a:pt x="1527" y="49"/>
                    </a:cubicBezTo>
                    <a:cubicBezTo>
                      <a:pt x="1800" y="90"/>
                      <a:pt x="2084" y="203"/>
                      <a:pt x="2329" y="378"/>
                    </a:cubicBezTo>
                    <a:cubicBezTo>
                      <a:pt x="2335" y="378"/>
                      <a:pt x="2335" y="378"/>
                      <a:pt x="2335" y="378"/>
                    </a:cubicBezTo>
                    <a:cubicBezTo>
                      <a:pt x="2335" y="378"/>
                      <a:pt x="2335" y="378"/>
                      <a:pt x="2335" y="378"/>
                    </a:cubicBezTo>
                    <a:cubicBezTo>
                      <a:pt x="2139" y="237"/>
                      <a:pt x="1911" y="132"/>
                      <a:pt x="1676" y="75"/>
                    </a:cubicBezTo>
                    <a:cubicBezTo>
                      <a:pt x="1632" y="65"/>
                      <a:pt x="1588" y="56"/>
                      <a:pt x="1545" y="49"/>
                    </a:cubicBezTo>
                    <a:cubicBezTo>
                      <a:pt x="1854" y="80"/>
                      <a:pt x="2173" y="194"/>
                      <a:pt x="2441" y="378"/>
                    </a:cubicBezTo>
                    <a:cubicBezTo>
                      <a:pt x="2445" y="378"/>
                      <a:pt x="2445" y="378"/>
                      <a:pt x="2445" y="378"/>
                    </a:cubicBezTo>
                    <a:cubicBezTo>
                      <a:pt x="2446" y="377"/>
                      <a:pt x="2446" y="377"/>
                      <a:pt x="2446" y="377"/>
                    </a:cubicBezTo>
                    <a:cubicBezTo>
                      <a:pt x="2231" y="228"/>
                      <a:pt x="1980" y="123"/>
                      <a:pt x="1722" y="71"/>
                    </a:cubicBezTo>
                    <a:cubicBezTo>
                      <a:pt x="1666" y="60"/>
                      <a:pt x="1611" y="52"/>
                      <a:pt x="1557" y="46"/>
                    </a:cubicBezTo>
                    <a:cubicBezTo>
                      <a:pt x="1557" y="46"/>
                      <a:pt x="1558" y="46"/>
                      <a:pt x="1559" y="46"/>
                    </a:cubicBezTo>
                    <a:cubicBezTo>
                      <a:pt x="1892" y="62"/>
                      <a:pt x="2229" y="168"/>
                      <a:pt x="2521" y="353"/>
                    </a:cubicBezTo>
                    <a:cubicBezTo>
                      <a:pt x="2521" y="349"/>
                      <a:pt x="2521" y="349"/>
                      <a:pt x="2521" y="349"/>
                    </a:cubicBezTo>
                    <a:cubicBezTo>
                      <a:pt x="2285" y="199"/>
                      <a:pt x="2025" y="102"/>
                      <a:pt x="1747" y="61"/>
                    </a:cubicBezTo>
                    <a:cubicBezTo>
                      <a:pt x="1696" y="54"/>
                      <a:pt x="1644" y="48"/>
                      <a:pt x="1593" y="45"/>
                    </a:cubicBezTo>
                    <a:cubicBezTo>
                      <a:pt x="1867" y="48"/>
                      <a:pt x="2190" y="105"/>
                      <a:pt x="2521" y="282"/>
                    </a:cubicBezTo>
                    <a:cubicBezTo>
                      <a:pt x="2521" y="278"/>
                      <a:pt x="2521" y="278"/>
                      <a:pt x="2521" y="278"/>
                    </a:cubicBezTo>
                    <a:cubicBezTo>
                      <a:pt x="2277" y="147"/>
                      <a:pt x="2012" y="70"/>
                      <a:pt x="1734" y="48"/>
                    </a:cubicBezTo>
                    <a:cubicBezTo>
                      <a:pt x="1702" y="45"/>
                      <a:pt x="1670" y="43"/>
                      <a:pt x="1638" y="4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21" name="Freeform 15"/>
              <p:cNvSpPr>
                <a:spLocks/>
              </p:cNvSpPr>
              <p:nvPr/>
            </p:nvSpPr>
            <p:spPr bwMode="auto">
              <a:xfrm>
                <a:off x="-1198563" y="1439863"/>
                <a:ext cx="9974263" cy="3071812"/>
              </a:xfrm>
              <a:custGeom>
                <a:avLst/>
                <a:gdLst>
                  <a:gd name="T0" fmla="*/ 2660 w 2660"/>
                  <a:gd name="T1" fmla="*/ 0 h 819"/>
                  <a:gd name="T2" fmla="*/ 1409 w 2660"/>
                  <a:gd name="T3" fmla="*/ 441 h 819"/>
                  <a:gd name="T4" fmla="*/ 1385 w 2660"/>
                  <a:gd name="T5" fmla="*/ 450 h 819"/>
                  <a:gd name="T6" fmla="*/ 1369 w 2660"/>
                  <a:gd name="T7" fmla="*/ 456 h 819"/>
                  <a:gd name="T8" fmla="*/ 1342 w 2660"/>
                  <a:gd name="T9" fmla="*/ 466 h 819"/>
                  <a:gd name="T10" fmla="*/ 1325 w 2660"/>
                  <a:gd name="T11" fmla="*/ 472 h 819"/>
                  <a:gd name="T12" fmla="*/ 1303 w 2660"/>
                  <a:gd name="T13" fmla="*/ 479 h 819"/>
                  <a:gd name="T14" fmla="*/ 1282 w 2660"/>
                  <a:gd name="T15" fmla="*/ 486 h 819"/>
                  <a:gd name="T16" fmla="*/ 1251 w 2660"/>
                  <a:gd name="T17" fmla="*/ 495 h 819"/>
                  <a:gd name="T18" fmla="*/ 0 w 2660"/>
                  <a:gd name="T19" fmla="*/ 819 h 819"/>
                  <a:gd name="T20" fmla="*/ 21 w 2660"/>
                  <a:gd name="T21" fmla="*/ 819 h 819"/>
                  <a:gd name="T22" fmla="*/ 990 w 2660"/>
                  <a:gd name="T23" fmla="*/ 578 h 819"/>
                  <a:gd name="T24" fmla="*/ 52 w 2660"/>
                  <a:gd name="T25" fmla="*/ 819 h 819"/>
                  <a:gd name="T26" fmla="*/ 72 w 2660"/>
                  <a:gd name="T27" fmla="*/ 819 h 819"/>
                  <a:gd name="T28" fmla="*/ 1018 w 2660"/>
                  <a:gd name="T29" fmla="*/ 573 h 819"/>
                  <a:gd name="T30" fmla="*/ 105 w 2660"/>
                  <a:gd name="T31" fmla="*/ 819 h 819"/>
                  <a:gd name="T32" fmla="*/ 124 w 2660"/>
                  <a:gd name="T33" fmla="*/ 819 h 819"/>
                  <a:gd name="T34" fmla="*/ 1063 w 2660"/>
                  <a:gd name="T35" fmla="*/ 563 h 819"/>
                  <a:gd name="T36" fmla="*/ 158 w 2660"/>
                  <a:gd name="T37" fmla="*/ 819 h 819"/>
                  <a:gd name="T38" fmla="*/ 176 w 2660"/>
                  <a:gd name="T39" fmla="*/ 819 h 819"/>
                  <a:gd name="T40" fmla="*/ 1096 w 2660"/>
                  <a:gd name="T41" fmla="*/ 556 h 819"/>
                  <a:gd name="T42" fmla="*/ 211 w 2660"/>
                  <a:gd name="T43" fmla="*/ 819 h 819"/>
                  <a:gd name="T44" fmla="*/ 228 w 2660"/>
                  <a:gd name="T45" fmla="*/ 819 h 819"/>
                  <a:gd name="T46" fmla="*/ 1131 w 2660"/>
                  <a:gd name="T47" fmla="*/ 548 h 819"/>
                  <a:gd name="T48" fmla="*/ 264 w 2660"/>
                  <a:gd name="T49" fmla="*/ 819 h 819"/>
                  <a:gd name="T50" fmla="*/ 281 w 2660"/>
                  <a:gd name="T51" fmla="*/ 819 h 819"/>
                  <a:gd name="T52" fmla="*/ 1161 w 2660"/>
                  <a:gd name="T53" fmla="*/ 541 h 819"/>
                  <a:gd name="T54" fmla="*/ 318 w 2660"/>
                  <a:gd name="T55" fmla="*/ 819 h 819"/>
                  <a:gd name="T56" fmla="*/ 334 w 2660"/>
                  <a:gd name="T57" fmla="*/ 819 h 819"/>
                  <a:gd name="T58" fmla="*/ 1193 w 2660"/>
                  <a:gd name="T59" fmla="*/ 533 h 819"/>
                  <a:gd name="T60" fmla="*/ 372 w 2660"/>
                  <a:gd name="T61" fmla="*/ 819 h 819"/>
                  <a:gd name="T62" fmla="*/ 387 w 2660"/>
                  <a:gd name="T63" fmla="*/ 819 h 819"/>
                  <a:gd name="T64" fmla="*/ 1335 w 2660"/>
                  <a:gd name="T65" fmla="*/ 477 h 819"/>
                  <a:gd name="T66" fmla="*/ 1346 w 2660"/>
                  <a:gd name="T67" fmla="*/ 472 h 819"/>
                  <a:gd name="T68" fmla="*/ 2660 w 2660"/>
                  <a:gd name="T69" fmla="*/ 217 h 819"/>
                  <a:gd name="T70" fmla="*/ 2660 w 2660"/>
                  <a:gd name="T71" fmla="*/ 213 h 819"/>
                  <a:gd name="T72" fmla="*/ 1454 w 2660"/>
                  <a:gd name="T73" fmla="*/ 439 h 819"/>
                  <a:gd name="T74" fmla="*/ 2660 w 2660"/>
                  <a:gd name="T75" fmla="*/ 187 h 819"/>
                  <a:gd name="T76" fmla="*/ 2660 w 2660"/>
                  <a:gd name="T77" fmla="*/ 183 h 819"/>
                  <a:gd name="T78" fmla="*/ 1481 w 2660"/>
                  <a:gd name="T79" fmla="*/ 428 h 819"/>
                  <a:gd name="T80" fmla="*/ 2660 w 2660"/>
                  <a:gd name="T81" fmla="*/ 156 h 819"/>
                  <a:gd name="T82" fmla="*/ 2660 w 2660"/>
                  <a:gd name="T83" fmla="*/ 152 h 819"/>
                  <a:gd name="T84" fmla="*/ 1509 w 2660"/>
                  <a:gd name="T85" fmla="*/ 415 h 819"/>
                  <a:gd name="T86" fmla="*/ 2660 w 2660"/>
                  <a:gd name="T87" fmla="*/ 126 h 819"/>
                  <a:gd name="T88" fmla="*/ 2660 w 2660"/>
                  <a:gd name="T89" fmla="*/ 122 h 819"/>
                  <a:gd name="T90" fmla="*/ 1514 w 2660"/>
                  <a:gd name="T91" fmla="*/ 409 h 819"/>
                  <a:gd name="T92" fmla="*/ 2660 w 2660"/>
                  <a:gd name="T93" fmla="*/ 95 h 819"/>
                  <a:gd name="T94" fmla="*/ 2660 w 2660"/>
                  <a:gd name="T95" fmla="*/ 91 h 819"/>
                  <a:gd name="T96" fmla="*/ 1548 w 2660"/>
                  <a:gd name="T97" fmla="*/ 394 h 819"/>
                  <a:gd name="T98" fmla="*/ 2660 w 2660"/>
                  <a:gd name="T99" fmla="*/ 65 h 819"/>
                  <a:gd name="T100" fmla="*/ 2660 w 2660"/>
                  <a:gd name="T101" fmla="*/ 61 h 819"/>
                  <a:gd name="T102" fmla="*/ 1566 w 2660"/>
                  <a:gd name="T103" fmla="*/ 383 h 819"/>
                  <a:gd name="T104" fmla="*/ 2660 w 2660"/>
                  <a:gd name="T105" fmla="*/ 35 h 819"/>
                  <a:gd name="T106" fmla="*/ 2660 w 2660"/>
                  <a:gd name="T107" fmla="*/ 31 h 819"/>
                  <a:gd name="T108" fmla="*/ 1584 w 2660"/>
                  <a:gd name="T109" fmla="*/ 371 h 819"/>
                  <a:gd name="T110" fmla="*/ 2660 w 2660"/>
                  <a:gd name="T111" fmla="*/ 4 h 819"/>
                  <a:gd name="T112" fmla="*/ 2660 w 2660"/>
                  <a:gd name="T113"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0" h="819">
                    <a:moveTo>
                      <a:pt x="2660" y="0"/>
                    </a:moveTo>
                    <a:cubicBezTo>
                      <a:pt x="2424" y="40"/>
                      <a:pt x="1981" y="196"/>
                      <a:pt x="1409" y="441"/>
                    </a:cubicBezTo>
                    <a:cubicBezTo>
                      <a:pt x="1401" y="444"/>
                      <a:pt x="1393" y="447"/>
                      <a:pt x="1385" y="450"/>
                    </a:cubicBezTo>
                    <a:cubicBezTo>
                      <a:pt x="1380" y="452"/>
                      <a:pt x="1374" y="454"/>
                      <a:pt x="1369" y="456"/>
                    </a:cubicBezTo>
                    <a:cubicBezTo>
                      <a:pt x="1360" y="460"/>
                      <a:pt x="1350" y="463"/>
                      <a:pt x="1342" y="466"/>
                    </a:cubicBezTo>
                    <a:cubicBezTo>
                      <a:pt x="1336" y="468"/>
                      <a:pt x="1331" y="470"/>
                      <a:pt x="1325" y="472"/>
                    </a:cubicBezTo>
                    <a:cubicBezTo>
                      <a:pt x="1318" y="475"/>
                      <a:pt x="1310" y="477"/>
                      <a:pt x="1303" y="479"/>
                    </a:cubicBezTo>
                    <a:cubicBezTo>
                      <a:pt x="1296" y="482"/>
                      <a:pt x="1289" y="484"/>
                      <a:pt x="1282" y="486"/>
                    </a:cubicBezTo>
                    <a:cubicBezTo>
                      <a:pt x="1271" y="489"/>
                      <a:pt x="1261" y="492"/>
                      <a:pt x="1251" y="495"/>
                    </a:cubicBezTo>
                    <a:cubicBezTo>
                      <a:pt x="791" y="638"/>
                      <a:pt x="347" y="753"/>
                      <a:pt x="0" y="819"/>
                    </a:cubicBezTo>
                    <a:cubicBezTo>
                      <a:pt x="21" y="819"/>
                      <a:pt x="21" y="819"/>
                      <a:pt x="21" y="819"/>
                    </a:cubicBezTo>
                    <a:cubicBezTo>
                      <a:pt x="298" y="765"/>
                      <a:pt x="634" y="681"/>
                      <a:pt x="990" y="578"/>
                    </a:cubicBezTo>
                    <a:cubicBezTo>
                      <a:pt x="648" y="681"/>
                      <a:pt x="328" y="764"/>
                      <a:pt x="52" y="819"/>
                    </a:cubicBezTo>
                    <a:cubicBezTo>
                      <a:pt x="72" y="819"/>
                      <a:pt x="72" y="819"/>
                      <a:pt x="72" y="819"/>
                    </a:cubicBezTo>
                    <a:cubicBezTo>
                      <a:pt x="351" y="762"/>
                      <a:pt x="674" y="679"/>
                      <a:pt x="1018" y="573"/>
                    </a:cubicBezTo>
                    <a:cubicBezTo>
                      <a:pt x="689" y="678"/>
                      <a:pt x="377" y="762"/>
                      <a:pt x="105" y="819"/>
                    </a:cubicBezTo>
                    <a:cubicBezTo>
                      <a:pt x="124" y="819"/>
                      <a:pt x="124" y="819"/>
                      <a:pt x="124" y="819"/>
                    </a:cubicBezTo>
                    <a:cubicBezTo>
                      <a:pt x="404" y="760"/>
                      <a:pt x="724" y="672"/>
                      <a:pt x="1063" y="563"/>
                    </a:cubicBezTo>
                    <a:cubicBezTo>
                      <a:pt x="737" y="673"/>
                      <a:pt x="433" y="759"/>
                      <a:pt x="158" y="819"/>
                    </a:cubicBezTo>
                    <a:cubicBezTo>
                      <a:pt x="176" y="819"/>
                      <a:pt x="176" y="819"/>
                      <a:pt x="176" y="819"/>
                    </a:cubicBezTo>
                    <a:cubicBezTo>
                      <a:pt x="456" y="757"/>
                      <a:pt x="764" y="669"/>
                      <a:pt x="1096" y="556"/>
                    </a:cubicBezTo>
                    <a:cubicBezTo>
                      <a:pt x="776" y="670"/>
                      <a:pt x="484" y="756"/>
                      <a:pt x="211" y="819"/>
                    </a:cubicBezTo>
                    <a:cubicBezTo>
                      <a:pt x="228" y="819"/>
                      <a:pt x="228" y="819"/>
                      <a:pt x="228" y="819"/>
                    </a:cubicBezTo>
                    <a:cubicBezTo>
                      <a:pt x="507" y="754"/>
                      <a:pt x="804" y="665"/>
                      <a:pt x="1131" y="548"/>
                    </a:cubicBezTo>
                    <a:cubicBezTo>
                      <a:pt x="814" y="667"/>
                      <a:pt x="535" y="754"/>
                      <a:pt x="264" y="819"/>
                    </a:cubicBezTo>
                    <a:cubicBezTo>
                      <a:pt x="281" y="819"/>
                      <a:pt x="281" y="819"/>
                      <a:pt x="281" y="819"/>
                    </a:cubicBezTo>
                    <a:cubicBezTo>
                      <a:pt x="556" y="752"/>
                      <a:pt x="839" y="663"/>
                      <a:pt x="1161" y="541"/>
                    </a:cubicBezTo>
                    <a:cubicBezTo>
                      <a:pt x="848" y="665"/>
                      <a:pt x="583" y="752"/>
                      <a:pt x="318" y="819"/>
                    </a:cubicBezTo>
                    <a:cubicBezTo>
                      <a:pt x="334" y="819"/>
                      <a:pt x="334" y="819"/>
                      <a:pt x="334" y="819"/>
                    </a:cubicBezTo>
                    <a:cubicBezTo>
                      <a:pt x="603" y="750"/>
                      <a:pt x="873" y="660"/>
                      <a:pt x="1193" y="533"/>
                    </a:cubicBezTo>
                    <a:cubicBezTo>
                      <a:pt x="881" y="663"/>
                      <a:pt x="629" y="750"/>
                      <a:pt x="372" y="819"/>
                    </a:cubicBezTo>
                    <a:cubicBezTo>
                      <a:pt x="387" y="819"/>
                      <a:pt x="387" y="819"/>
                      <a:pt x="387" y="819"/>
                    </a:cubicBezTo>
                    <a:cubicBezTo>
                      <a:pt x="677" y="741"/>
                      <a:pt x="961" y="638"/>
                      <a:pt x="1335" y="477"/>
                    </a:cubicBezTo>
                    <a:cubicBezTo>
                      <a:pt x="1339" y="475"/>
                      <a:pt x="1342" y="474"/>
                      <a:pt x="1346" y="472"/>
                    </a:cubicBezTo>
                    <a:cubicBezTo>
                      <a:pt x="1637" y="392"/>
                      <a:pt x="2266" y="249"/>
                      <a:pt x="2660" y="217"/>
                    </a:cubicBezTo>
                    <a:cubicBezTo>
                      <a:pt x="2660" y="213"/>
                      <a:pt x="2660" y="213"/>
                      <a:pt x="2660" y="213"/>
                    </a:cubicBezTo>
                    <a:cubicBezTo>
                      <a:pt x="2310" y="241"/>
                      <a:pt x="1773" y="358"/>
                      <a:pt x="1454" y="439"/>
                    </a:cubicBezTo>
                    <a:cubicBezTo>
                      <a:pt x="1770" y="351"/>
                      <a:pt x="2312" y="219"/>
                      <a:pt x="2660" y="187"/>
                    </a:cubicBezTo>
                    <a:cubicBezTo>
                      <a:pt x="2660" y="183"/>
                      <a:pt x="2660" y="183"/>
                      <a:pt x="2660" y="183"/>
                    </a:cubicBezTo>
                    <a:cubicBezTo>
                      <a:pt x="2322" y="214"/>
                      <a:pt x="1801" y="339"/>
                      <a:pt x="1481" y="428"/>
                    </a:cubicBezTo>
                    <a:cubicBezTo>
                      <a:pt x="1796" y="333"/>
                      <a:pt x="2323" y="191"/>
                      <a:pt x="2660" y="156"/>
                    </a:cubicBezTo>
                    <a:cubicBezTo>
                      <a:pt x="2660" y="152"/>
                      <a:pt x="2660" y="152"/>
                      <a:pt x="2660" y="152"/>
                    </a:cubicBezTo>
                    <a:cubicBezTo>
                      <a:pt x="2333" y="186"/>
                      <a:pt x="1826" y="321"/>
                      <a:pt x="1509" y="415"/>
                    </a:cubicBezTo>
                    <a:cubicBezTo>
                      <a:pt x="1817" y="316"/>
                      <a:pt x="2333" y="163"/>
                      <a:pt x="2660" y="126"/>
                    </a:cubicBezTo>
                    <a:cubicBezTo>
                      <a:pt x="2660" y="122"/>
                      <a:pt x="2660" y="122"/>
                      <a:pt x="2660" y="122"/>
                    </a:cubicBezTo>
                    <a:cubicBezTo>
                      <a:pt x="2335" y="159"/>
                      <a:pt x="1823" y="310"/>
                      <a:pt x="1514" y="409"/>
                    </a:cubicBezTo>
                    <a:cubicBezTo>
                      <a:pt x="1834" y="299"/>
                      <a:pt x="2350" y="135"/>
                      <a:pt x="2660" y="95"/>
                    </a:cubicBezTo>
                    <a:cubicBezTo>
                      <a:pt x="2660" y="91"/>
                      <a:pt x="2660" y="91"/>
                      <a:pt x="2660" y="91"/>
                    </a:cubicBezTo>
                    <a:cubicBezTo>
                      <a:pt x="2361" y="129"/>
                      <a:pt x="1869" y="283"/>
                      <a:pt x="1548" y="394"/>
                    </a:cubicBezTo>
                    <a:cubicBezTo>
                      <a:pt x="1845" y="284"/>
                      <a:pt x="2354" y="108"/>
                      <a:pt x="2660" y="65"/>
                    </a:cubicBezTo>
                    <a:cubicBezTo>
                      <a:pt x="2660" y="61"/>
                      <a:pt x="2660" y="61"/>
                      <a:pt x="2660" y="61"/>
                    </a:cubicBezTo>
                    <a:cubicBezTo>
                      <a:pt x="2360" y="103"/>
                      <a:pt x="1866" y="273"/>
                      <a:pt x="1566" y="383"/>
                    </a:cubicBezTo>
                    <a:cubicBezTo>
                      <a:pt x="1874" y="262"/>
                      <a:pt x="2372" y="79"/>
                      <a:pt x="2660" y="35"/>
                    </a:cubicBezTo>
                    <a:cubicBezTo>
                      <a:pt x="2660" y="31"/>
                      <a:pt x="2660" y="31"/>
                      <a:pt x="2660" y="31"/>
                    </a:cubicBezTo>
                    <a:cubicBezTo>
                      <a:pt x="2378" y="74"/>
                      <a:pt x="1893" y="251"/>
                      <a:pt x="1584" y="371"/>
                    </a:cubicBezTo>
                    <a:cubicBezTo>
                      <a:pt x="2071" y="169"/>
                      <a:pt x="2448" y="40"/>
                      <a:pt x="2660" y="4"/>
                    </a:cubicBezTo>
                    <a:lnTo>
                      <a:pt x="266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a:p>
            </p:txBody>
          </p:sp>
        </p:grpSp>
        <p:grpSp>
          <p:nvGrpSpPr>
            <p:cNvPr id="11" name="Gruppieren 10"/>
            <p:cNvGrpSpPr/>
            <p:nvPr/>
          </p:nvGrpSpPr>
          <p:grpSpPr>
            <a:xfrm>
              <a:off x="158750" y="2279650"/>
              <a:ext cx="8616950" cy="2232025"/>
              <a:chOff x="158750" y="2279650"/>
              <a:chExt cx="8616950" cy="2232025"/>
            </a:xfrm>
            <a:solidFill>
              <a:schemeClr val="accent3"/>
            </a:solidFill>
          </p:grpSpPr>
          <p:sp>
            <p:nvSpPr>
              <p:cNvPr id="12" name="Freeform 16"/>
              <p:cNvSpPr>
                <a:spLocks/>
              </p:cNvSpPr>
              <p:nvPr/>
            </p:nvSpPr>
            <p:spPr bwMode="auto">
              <a:xfrm>
                <a:off x="158750" y="2279650"/>
                <a:ext cx="8616950" cy="2232025"/>
              </a:xfrm>
              <a:custGeom>
                <a:avLst/>
                <a:gdLst>
                  <a:gd name="T0" fmla="*/ 2298 w 2298"/>
                  <a:gd name="T1" fmla="*/ 0 h 595"/>
                  <a:gd name="T2" fmla="*/ 1148 w 2298"/>
                  <a:gd name="T3" fmla="*/ 241 h 595"/>
                  <a:gd name="T4" fmla="*/ 1018 w 2298"/>
                  <a:gd name="T5" fmla="*/ 291 h 595"/>
                  <a:gd name="T6" fmla="*/ 0 w 2298"/>
                  <a:gd name="T7" fmla="*/ 595 h 595"/>
                  <a:gd name="T8" fmla="*/ 23 w 2298"/>
                  <a:gd name="T9" fmla="*/ 595 h 595"/>
                  <a:gd name="T10" fmla="*/ 1020 w 2298"/>
                  <a:gd name="T11" fmla="*/ 295 h 595"/>
                  <a:gd name="T12" fmla="*/ 1150 w 2298"/>
                  <a:gd name="T13" fmla="*/ 245 h 595"/>
                  <a:gd name="T14" fmla="*/ 2298 w 2298"/>
                  <a:gd name="T15" fmla="*/ 4 h 595"/>
                  <a:gd name="T16" fmla="*/ 2298 w 2298"/>
                  <a:gd name="T17"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8" h="595">
                    <a:moveTo>
                      <a:pt x="2298" y="0"/>
                    </a:moveTo>
                    <a:cubicBezTo>
                      <a:pt x="1892" y="40"/>
                      <a:pt x="1366" y="159"/>
                      <a:pt x="1148" y="241"/>
                    </a:cubicBezTo>
                    <a:cubicBezTo>
                      <a:pt x="1104" y="258"/>
                      <a:pt x="1061" y="275"/>
                      <a:pt x="1018" y="291"/>
                    </a:cubicBezTo>
                    <a:cubicBezTo>
                      <a:pt x="693" y="415"/>
                      <a:pt x="408" y="523"/>
                      <a:pt x="0" y="595"/>
                    </a:cubicBezTo>
                    <a:cubicBezTo>
                      <a:pt x="23" y="595"/>
                      <a:pt x="23" y="595"/>
                      <a:pt x="23" y="595"/>
                    </a:cubicBezTo>
                    <a:cubicBezTo>
                      <a:pt x="419" y="523"/>
                      <a:pt x="700" y="416"/>
                      <a:pt x="1020" y="295"/>
                    </a:cubicBezTo>
                    <a:cubicBezTo>
                      <a:pt x="1062" y="278"/>
                      <a:pt x="1105" y="262"/>
                      <a:pt x="1150" y="245"/>
                    </a:cubicBezTo>
                    <a:cubicBezTo>
                      <a:pt x="1342" y="173"/>
                      <a:pt x="1871" y="46"/>
                      <a:pt x="2298" y="4"/>
                    </a:cubicBezTo>
                    <a:lnTo>
                      <a:pt x="22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 name="Freeform 17"/>
              <p:cNvSpPr>
                <a:spLocks/>
              </p:cNvSpPr>
              <p:nvPr/>
            </p:nvSpPr>
            <p:spPr bwMode="auto">
              <a:xfrm>
                <a:off x="260350" y="2455863"/>
                <a:ext cx="8515350" cy="2055812"/>
              </a:xfrm>
              <a:custGeom>
                <a:avLst/>
                <a:gdLst>
                  <a:gd name="T0" fmla="*/ 2271 w 2271"/>
                  <a:gd name="T1" fmla="*/ 0 h 548"/>
                  <a:gd name="T2" fmla="*/ 1129 w 2271"/>
                  <a:gd name="T3" fmla="*/ 207 h 548"/>
                  <a:gd name="T4" fmla="*/ 1009 w 2271"/>
                  <a:gd name="T5" fmla="*/ 252 h 548"/>
                  <a:gd name="T6" fmla="*/ 0 w 2271"/>
                  <a:gd name="T7" fmla="*/ 548 h 548"/>
                  <a:gd name="T8" fmla="*/ 0 w 2271"/>
                  <a:gd name="T9" fmla="*/ 548 h 548"/>
                  <a:gd name="T10" fmla="*/ 22 w 2271"/>
                  <a:gd name="T11" fmla="*/ 548 h 548"/>
                  <a:gd name="T12" fmla="*/ 1011 w 2271"/>
                  <a:gd name="T13" fmla="*/ 256 h 548"/>
                  <a:gd name="T14" fmla="*/ 1130 w 2271"/>
                  <a:gd name="T15" fmla="*/ 211 h 548"/>
                  <a:gd name="T16" fmla="*/ 2271 w 2271"/>
                  <a:gd name="T17" fmla="*/ 4 h 548"/>
                  <a:gd name="T18" fmla="*/ 2271 w 2271"/>
                  <a:gd name="T1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1" h="548">
                    <a:moveTo>
                      <a:pt x="2271" y="0"/>
                    </a:moveTo>
                    <a:cubicBezTo>
                      <a:pt x="1869" y="21"/>
                      <a:pt x="1346" y="126"/>
                      <a:pt x="1129" y="207"/>
                    </a:cubicBezTo>
                    <a:cubicBezTo>
                      <a:pt x="1088" y="222"/>
                      <a:pt x="1048" y="237"/>
                      <a:pt x="1009" y="252"/>
                    </a:cubicBezTo>
                    <a:cubicBezTo>
                      <a:pt x="676" y="378"/>
                      <a:pt x="413" y="477"/>
                      <a:pt x="0" y="548"/>
                    </a:cubicBezTo>
                    <a:cubicBezTo>
                      <a:pt x="0" y="548"/>
                      <a:pt x="0" y="548"/>
                      <a:pt x="0" y="548"/>
                    </a:cubicBezTo>
                    <a:cubicBezTo>
                      <a:pt x="22" y="548"/>
                      <a:pt x="22" y="548"/>
                      <a:pt x="22" y="548"/>
                    </a:cubicBezTo>
                    <a:cubicBezTo>
                      <a:pt x="423" y="477"/>
                      <a:pt x="683" y="379"/>
                      <a:pt x="1011" y="256"/>
                    </a:cubicBezTo>
                    <a:cubicBezTo>
                      <a:pt x="1049" y="241"/>
                      <a:pt x="1089" y="226"/>
                      <a:pt x="1130" y="211"/>
                    </a:cubicBezTo>
                    <a:cubicBezTo>
                      <a:pt x="1348" y="130"/>
                      <a:pt x="1869" y="25"/>
                      <a:pt x="2271" y="4"/>
                    </a:cubicBezTo>
                    <a:lnTo>
                      <a:pt x="2271"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4" name="Freeform 18"/>
              <p:cNvSpPr>
                <a:spLocks/>
              </p:cNvSpPr>
              <p:nvPr/>
            </p:nvSpPr>
            <p:spPr bwMode="auto">
              <a:xfrm>
                <a:off x="360362" y="2628900"/>
                <a:ext cx="8415338" cy="1882775"/>
              </a:xfrm>
              <a:custGeom>
                <a:avLst/>
                <a:gdLst>
                  <a:gd name="T0" fmla="*/ 2244 w 2244"/>
                  <a:gd name="T1" fmla="*/ 0 h 502"/>
                  <a:gd name="T2" fmla="*/ 1109 w 2244"/>
                  <a:gd name="T3" fmla="*/ 173 h 502"/>
                  <a:gd name="T4" fmla="*/ 1000 w 2244"/>
                  <a:gd name="T5" fmla="*/ 214 h 502"/>
                  <a:gd name="T6" fmla="*/ 0 w 2244"/>
                  <a:gd name="T7" fmla="*/ 502 h 502"/>
                  <a:gd name="T8" fmla="*/ 24 w 2244"/>
                  <a:gd name="T9" fmla="*/ 502 h 502"/>
                  <a:gd name="T10" fmla="*/ 1002 w 2244"/>
                  <a:gd name="T11" fmla="*/ 218 h 502"/>
                  <a:gd name="T12" fmla="*/ 1110 w 2244"/>
                  <a:gd name="T13" fmla="*/ 177 h 502"/>
                  <a:gd name="T14" fmla="*/ 2244 w 2244"/>
                  <a:gd name="T15" fmla="*/ 4 h 502"/>
                  <a:gd name="T16" fmla="*/ 2244 w 2244"/>
                  <a:gd name="T17"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4" h="502">
                    <a:moveTo>
                      <a:pt x="2244" y="0"/>
                    </a:moveTo>
                    <a:cubicBezTo>
                      <a:pt x="1842" y="1"/>
                      <a:pt x="1333" y="91"/>
                      <a:pt x="1109" y="173"/>
                    </a:cubicBezTo>
                    <a:cubicBezTo>
                      <a:pt x="1072" y="187"/>
                      <a:pt x="1035" y="201"/>
                      <a:pt x="1000" y="214"/>
                    </a:cubicBezTo>
                    <a:cubicBezTo>
                      <a:pt x="675" y="336"/>
                      <a:pt x="418" y="432"/>
                      <a:pt x="0" y="502"/>
                    </a:cubicBezTo>
                    <a:cubicBezTo>
                      <a:pt x="24" y="502"/>
                      <a:pt x="24" y="502"/>
                      <a:pt x="24" y="502"/>
                    </a:cubicBezTo>
                    <a:cubicBezTo>
                      <a:pt x="428" y="432"/>
                      <a:pt x="682" y="337"/>
                      <a:pt x="1002" y="218"/>
                    </a:cubicBezTo>
                    <a:cubicBezTo>
                      <a:pt x="1037" y="204"/>
                      <a:pt x="1073" y="191"/>
                      <a:pt x="1110" y="177"/>
                    </a:cubicBezTo>
                    <a:cubicBezTo>
                      <a:pt x="1334" y="95"/>
                      <a:pt x="1842" y="5"/>
                      <a:pt x="2244" y="4"/>
                    </a:cubicBezTo>
                    <a:lnTo>
                      <a:pt x="2244"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5" name="Freeform 19"/>
              <p:cNvSpPr>
                <a:spLocks/>
              </p:cNvSpPr>
              <p:nvPr/>
            </p:nvSpPr>
            <p:spPr bwMode="auto">
              <a:xfrm>
                <a:off x="481012" y="2736850"/>
                <a:ext cx="8294688" cy="1774825"/>
              </a:xfrm>
              <a:custGeom>
                <a:avLst/>
                <a:gdLst>
                  <a:gd name="T0" fmla="*/ 2212 w 2212"/>
                  <a:gd name="T1" fmla="*/ 16 h 473"/>
                  <a:gd name="T2" fmla="*/ 1084 w 2212"/>
                  <a:gd name="T3" fmla="*/ 157 h 473"/>
                  <a:gd name="T4" fmla="*/ 986 w 2212"/>
                  <a:gd name="T5" fmla="*/ 193 h 473"/>
                  <a:gd name="T6" fmla="*/ 0 w 2212"/>
                  <a:gd name="T7" fmla="*/ 472 h 473"/>
                  <a:gd name="T8" fmla="*/ 0 w 2212"/>
                  <a:gd name="T9" fmla="*/ 473 h 473"/>
                  <a:gd name="T10" fmla="*/ 20 w 2212"/>
                  <a:gd name="T11" fmla="*/ 473 h 473"/>
                  <a:gd name="T12" fmla="*/ 988 w 2212"/>
                  <a:gd name="T13" fmla="*/ 197 h 473"/>
                  <a:gd name="T14" fmla="*/ 1085 w 2212"/>
                  <a:gd name="T15" fmla="*/ 161 h 473"/>
                  <a:gd name="T16" fmla="*/ 2212 w 2212"/>
                  <a:gd name="T17" fmla="*/ 20 h 473"/>
                  <a:gd name="T18" fmla="*/ 2212 w 2212"/>
                  <a:gd name="T19" fmla="*/ 1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2" h="473">
                    <a:moveTo>
                      <a:pt x="2212" y="16"/>
                    </a:moveTo>
                    <a:cubicBezTo>
                      <a:pt x="1854" y="0"/>
                      <a:pt x="1338" y="64"/>
                      <a:pt x="1084" y="157"/>
                    </a:cubicBezTo>
                    <a:cubicBezTo>
                      <a:pt x="1050" y="169"/>
                      <a:pt x="1018" y="181"/>
                      <a:pt x="986" y="193"/>
                    </a:cubicBezTo>
                    <a:cubicBezTo>
                      <a:pt x="669" y="310"/>
                      <a:pt x="419" y="403"/>
                      <a:pt x="0" y="472"/>
                    </a:cubicBezTo>
                    <a:cubicBezTo>
                      <a:pt x="0" y="473"/>
                      <a:pt x="0" y="473"/>
                      <a:pt x="0" y="473"/>
                    </a:cubicBezTo>
                    <a:cubicBezTo>
                      <a:pt x="20" y="473"/>
                      <a:pt x="20" y="473"/>
                      <a:pt x="20" y="473"/>
                    </a:cubicBezTo>
                    <a:cubicBezTo>
                      <a:pt x="428" y="404"/>
                      <a:pt x="676" y="312"/>
                      <a:pt x="988" y="197"/>
                    </a:cubicBezTo>
                    <a:cubicBezTo>
                      <a:pt x="1019" y="185"/>
                      <a:pt x="1052" y="173"/>
                      <a:pt x="1085" y="161"/>
                    </a:cubicBezTo>
                    <a:cubicBezTo>
                      <a:pt x="1339" y="68"/>
                      <a:pt x="1855" y="4"/>
                      <a:pt x="2212" y="20"/>
                    </a:cubicBezTo>
                    <a:lnTo>
                      <a:pt x="2212"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6" name="Freeform 20"/>
              <p:cNvSpPr>
                <a:spLocks/>
              </p:cNvSpPr>
              <p:nvPr/>
            </p:nvSpPr>
            <p:spPr bwMode="auto">
              <a:xfrm>
                <a:off x="577850" y="2830513"/>
                <a:ext cx="8197850" cy="1681162"/>
              </a:xfrm>
              <a:custGeom>
                <a:avLst/>
                <a:gdLst>
                  <a:gd name="T0" fmla="*/ 2186 w 2186"/>
                  <a:gd name="T1" fmla="*/ 36 h 448"/>
                  <a:gd name="T2" fmla="*/ 1065 w 2186"/>
                  <a:gd name="T3" fmla="*/ 145 h 448"/>
                  <a:gd name="T4" fmla="*/ 978 w 2186"/>
                  <a:gd name="T5" fmla="*/ 176 h 448"/>
                  <a:gd name="T6" fmla="*/ 0 w 2186"/>
                  <a:gd name="T7" fmla="*/ 448 h 448"/>
                  <a:gd name="T8" fmla="*/ 24 w 2186"/>
                  <a:gd name="T9" fmla="*/ 448 h 448"/>
                  <a:gd name="T10" fmla="*/ 980 w 2186"/>
                  <a:gd name="T11" fmla="*/ 180 h 448"/>
                  <a:gd name="T12" fmla="*/ 1066 w 2186"/>
                  <a:gd name="T13" fmla="*/ 148 h 448"/>
                  <a:gd name="T14" fmla="*/ 2186 w 2186"/>
                  <a:gd name="T15" fmla="*/ 40 h 448"/>
                  <a:gd name="T16" fmla="*/ 2186 w 2186"/>
                  <a:gd name="T17" fmla="*/ 3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6" h="448">
                    <a:moveTo>
                      <a:pt x="2186" y="36"/>
                    </a:moveTo>
                    <a:cubicBezTo>
                      <a:pt x="1830" y="0"/>
                      <a:pt x="1328" y="49"/>
                      <a:pt x="1065" y="145"/>
                    </a:cubicBezTo>
                    <a:cubicBezTo>
                      <a:pt x="1035" y="155"/>
                      <a:pt x="1006" y="166"/>
                      <a:pt x="978" y="176"/>
                    </a:cubicBezTo>
                    <a:cubicBezTo>
                      <a:pt x="657" y="294"/>
                      <a:pt x="424" y="380"/>
                      <a:pt x="0" y="448"/>
                    </a:cubicBezTo>
                    <a:cubicBezTo>
                      <a:pt x="24" y="448"/>
                      <a:pt x="24" y="448"/>
                      <a:pt x="24" y="448"/>
                    </a:cubicBezTo>
                    <a:cubicBezTo>
                      <a:pt x="434" y="380"/>
                      <a:pt x="664" y="296"/>
                      <a:pt x="980" y="180"/>
                    </a:cubicBezTo>
                    <a:cubicBezTo>
                      <a:pt x="1008" y="170"/>
                      <a:pt x="1037" y="159"/>
                      <a:pt x="1066" y="148"/>
                    </a:cubicBezTo>
                    <a:cubicBezTo>
                      <a:pt x="1329" y="53"/>
                      <a:pt x="1831" y="4"/>
                      <a:pt x="2186" y="40"/>
                    </a:cubicBezTo>
                    <a:lnTo>
                      <a:pt x="218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7" name="Freeform 21"/>
              <p:cNvSpPr>
                <a:spLocks/>
              </p:cNvSpPr>
              <p:nvPr/>
            </p:nvSpPr>
            <p:spPr bwMode="auto">
              <a:xfrm>
                <a:off x="690562" y="2940050"/>
                <a:ext cx="8085138" cy="1571625"/>
              </a:xfrm>
              <a:custGeom>
                <a:avLst/>
                <a:gdLst>
                  <a:gd name="T0" fmla="*/ 2156 w 2156"/>
                  <a:gd name="T1" fmla="*/ 51 h 419"/>
                  <a:gd name="T2" fmla="*/ 1568 w 2156"/>
                  <a:gd name="T3" fmla="*/ 33 h 419"/>
                  <a:gd name="T4" fmla="*/ 1042 w 2156"/>
                  <a:gd name="T5" fmla="*/ 128 h 419"/>
                  <a:gd name="T6" fmla="*/ 967 w 2156"/>
                  <a:gd name="T7" fmla="*/ 155 h 419"/>
                  <a:gd name="T8" fmla="*/ 0 w 2156"/>
                  <a:gd name="T9" fmla="*/ 419 h 419"/>
                  <a:gd name="T10" fmla="*/ 26 w 2156"/>
                  <a:gd name="T11" fmla="*/ 419 h 419"/>
                  <a:gd name="T12" fmla="*/ 968 w 2156"/>
                  <a:gd name="T13" fmla="*/ 159 h 419"/>
                  <a:gd name="T14" fmla="*/ 1043 w 2156"/>
                  <a:gd name="T15" fmla="*/ 132 h 419"/>
                  <a:gd name="T16" fmla="*/ 2156 w 2156"/>
                  <a:gd name="T17" fmla="*/ 55 h 419"/>
                  <a:gd name="T18" fmla="*/ 2156 w 2156"/>
                  <a:gd name="T19" fmla="*/ 5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6" h="419">
                    <a:moveTo>
                      <a:pt x="2156" y="51"/>
                    </a:moveTo>
                    <a:cubicBezTo>
                      <a:pt x="1986" y="24"/>
                      <a:pt x="1777" y="18"/>
                      <a:pt x="1568" y="33"/>
                    </a:cubicBezTo>
                    <a:cubicBezTo>
                      <a:pt x="1359" y="47"/>
                      <a:pt x="1172" y="81"/>
                      <a:pt x="1042" y="128"/>
                    </a:cubicBezTo>
                    <a:cubicBezTo>
                      <a:pt x="1016" y="137"/>
                      <a:pt x="991" y="147"/>
                      <a:pt x="967" y="155"/>
                    </a:cubicBezTo>
                    <a:cubicBezTo>
                      <a:pt x="641" y="274"/>
                      <a:pt x="426" y="352"/>
                      <a:pt x="0" y="419"/>
                    </a:cubicBezTo>
                    <a:cubicBezTo>
                      <a:pt x="26" y="419"/>
                      <a:pt x="26" y="419"/>
                      <a:pt x="26" y="419"/>
                    </a:cubicBezTo>
                    <a:cubicBezTo>
                      <a:pt x="435" y="353"/>
                      <a:pt x="649" y="275"/>
                      <a:pt x="968" y="159"/>
                    </a:cubicBezTo>
                    <a:cubicBezTo>
                      <a:pt x="993" y="150"/>
                      <a:pt x="1018" y="141"/>
                      <a:pt x="1043" y="132"/>
                    </a:cubicBezTo>
                    <a:cubicBezTo>
                      <a:pt x="1315" y="34"/>
                      <a:pt x="1804" y="0"/>
                      <a:pt x="2156" y="55"/>
                    </a:cubicBezTo>
                    <a:lnTo>
                      <a:pt x="2156" y="5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8" name="Freeform 22"/>
              <p:cNvSpPr>
                <a:spLocks/>
              </p:cNvSpPr>
              <p:nvPr/>
            </p:nvSpPr>
            <p:spPr bwMode="auto">
              <a:xfrm>
                <a:off x="811212" y="3017838"/>
                <a:ext cx="7964488" cy="1493837"/>
              </a:xfrm>
              <a:custGeom>
                <a:avLst/>
                <a:gdLst>
                  <a:gd name="T0" fmla="*/ 2124 w 2124"/>
                  <a:gd name="T1" fmla="*/ 73 h 398"/>
                  <a:gd name="T2" fmla="*/ 1017 w 2124"/>
                  <a:gd name="T3" fmla="*/ 120 h 398"/>
                  <a:gd name="T4" fmla="*/ 953 w 2124"/>
                  <a:gd name="T5" fmla="*/ 143 h 398"/>
                  <a:gd name="T6" fmla="*/ 0 w 2124"/>
                  <a:gd name="T7" fmla="*/ 398 h 398"/>
                  <a:gd name="T8" fmla="*/ 26 w 2124"/>
                  <a:gd name="T9" fmla="*/ 398 h 398"/>
                  <a:gd name="T10" fmla="*/ 955 w 2124"/>
                  <a:gd name="T11" fmla="*/ 146 h 398"/>
                  <a:gd name="T12" fmla="*/ 1019 w 2124"/>
                  <a:gd name="T13" fmla="*/ 123 h 398"/>
                  <a:gd name="T14" fmla="*/ 2124 w 2124"/>
                  <a:gd name="T15" fmla="*/ 77 h 398"/>
                  <a:gd name="T16" fmla="*/ 2124 w 2124"/>
                  <a:gd name="T17" fmla="*/ 7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4" h="398">
                    <a:moveTo>
                      <a:pt x="2124" y="73"/>
                    </a:moveTo>
                    <a:cubicBezTo>
                      <a:pt x="1780" y="0"/>
                      <a:pt x="1295" y="20"/>
                      <a:pt x="1017" y="120"/>
                    </a:cubicBezTo>
                    <a:cubicBezTo>
                      <a:pt x="995" y="127"/>
                      <a:pt x="974" y="135"/>
                      <a:pt x="953" y="143"/>
                    </a:cubicBezTo>
                    <a:cubicBezTo>
                      <a:pt x="636" y="257"/>
                      <a:pt x="426" y="333"/>
                      <a:pt x="0" y="398"/>
                    </a:cubicBezTo>
                    <a:cubicBezTo>
                      <a:pt x="26" y="398"/>
                      <a:pt x="26" y="398"/>
                      <a:pt x="26" y="398"/>
                    </a:cubicBezTo>
                    <a:cubicBezTo>
                      <a:pt x="435" y="334"/>
                      <a:pt x="643" y="259"/>
                      <a:pt x="955" y="146"/>
                    </a:cubicBezTo>
                    <a:cubicBezTo>
                      <a:pt x="975" y="139"/>
                      <a:pt x="997" y="131"/>
                      <a:pt x="1019" y="123"/>
                    </a:cubicBezTo>
                    <a:cubicBezTo>
                      <a:pt x="1296" y="24"/>
                      <a:pt x="1781" y="4"/>
                      <a:pt x="2124" y="77"/>
                    </a:cubicBezTo>
                    <a:lnTo>
                      <a:pt x="2124" y="7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9" name="Freeform 23"/>
              <p:cNvSpPr>
                <a:spLocks/>
              </p:cNvSpPr>
              <p:nvPr/>
            </p:nvSpPr>
            <p:spPr bwMode="auto">
              <a:xfrm>
                <a:off x="935037" y="3124200"/>
                <a:ext cx="7840663" cy="1387475"/>
              </a:xfrm>
              <a:custGeom>
                <a:avLst/>
                <a:gdLst>
                  <a:gd name="T0" fmla="*/ 2091 w 2091"/>
                  <a:gd name="T1" fmla="*/ 87 h 370"/>
                  <a:gd name="T2" fmla="*/ 1528 w 2091"/>
                  <a:gd name="T3" fmla="*/ 23 h 370"/>
                  <a:gd name="T4" fmla="*/ 991 w 2091"/>
                  <a:gd name="T5" fmla="*/ 104 h 370"/>
                  <a:gd name="T6" fmla="*/ 939 w 2091"/>
                  <a:gd name="T7" fmla="*/ 123 h 370"/>
                  <a:gd name="T8" fmla="*/ 0 w 2091"/>
                  <a:gd name="T9" fmla="*/ 370 h 370"/>
                  <a:gd name="T10" fmla="*/ 27 w 2091"/>
                  <a:gd name="T11" fmla="*/ 370 h 370"/>
                  <a:gd name="T12" fmla="*/ 940 w 2091"/>
                  <a:gd name="T13" fmla="*/ 127 h 370"/>
                  <a:gd name="T14" fmla="*/ 993 w 2091"/>
                  <a:gd name="T15" fmla="*/ 108 h 370"/>
                  <a:gd name="T16" fmla="*/ 2091 w 2091"/>
                  <a:gd name="T17" fmla="*/ 91 h 370"/>
                  <a:gd name="T18" fmla="*/ 2091 w 2091"/>
                  <a:gd name="T19" fmla="*/ 8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1" h="370">
                    <a:moveTo>
                      <a:pt x="2091" y="87"/>
                    </a:moveTo>
                    <a:cubicBezTo>
                      <a:pt x="1930" y="43"/>
                      <a:pt x="1730" y="20"/>
                      <a:pt x="1528" y="23"/>
                    </a:cubicBezTo>
                    <a:cubicBezTo>
                      <a:pt x="1322" y="25"/>
                      <a:pt x="1131" y="54"/>
                      <a:pt x="991" y="104"/>
                    </a:cubicBezTo>
                    <a:cubicBezTo>
                      <a:pt x="939" y="123"/>
                      <a:pt x="939" y="123"/>
                      <a:pt x="939" y="123"/>
                    </a:cubicBezTo>
                    <a:cubicBezTo>
                      <a:pt x="618" y="237"/>
                      <a:pt x="424" y="306"/>
                      <a:pt x="0" y="370"/>
                    </a:cubicBezTo>
                    <a:cubicBezTo>
                      <a:pt x="27" y="370"/>
                      <a:pt x="27" y="370"/>
                      <a:pt x="27" y="370"/>
                    </a:cubicBezTo>
                    <a:cubicBezTo>
                      <a:pt x="433" y="307"/>
                      <a:pt x="626" y="239"/>
                      <a:pt x="940" y="127"/>
                    </a:cubicBezTo>
                    <a:cubicBezTo>
                      <a:pt x="993" y="108"/>
                      <a:pt x="993" y="108"/>
                      <a:pt x="993" y="108"/>
                    </a:cubicBezTo>
                    <a:cubicBezTo>
                      <a:pt x="1276" y="7"/>
                      <a:pt x="1757" y="0"/>
                      <a:pt x="2091" y="91"/>
                    </a:cubicBezTo>
                    <a:lnTo>
                      <a:pt x="2091" y="8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grpSp>
      </p:grpSp>
      <p:sp>
        <p:nvSpPr>
          <p:cNvPr id="2" name="Title 1"/>
          <p:cNvSpPr>
            <a:spLocks noGrp="1"/>
          </p:cNvSpPr>
          <p:nvPr>
            <p:ph type="ctrTitle" hasCustomPrompt="1"/>
          </p:nvPr>
        </p:nvSpPr>
        <p:spPr>
          <a:xfrm>
            <a:off x="723900" y="531689"/>
            <a:ext cx="6546268" cy="1354262"/>
          </a:xfrm>
          <a:prstGeom prst="rect">
            <a:avLst/>
          </a:prstGeom>
        </p:spPr>
        <p:txBody>
          <a:bodyPr lIns="0" tIns="22677" rIns="0" bIns="22677" anchor="b">
            <a:normAutofit/>
          </a:bodyPr>
          <a:lstStyle>
            <a:lvl1pPr algn="l">
              <a:defRPr sz="2800">
                <a:solidFill>
                  <a:srgbClr val="4D4D4D"/>
                </a:solidFill>
                <a:latin typeface="+mj-lt"/>
                <a:cs typeface="Calibri" panose="020B0604020202020204" pitchFamily="34" charset="0"/>
              </a:defRPr>
            </a:lvl1pPr>
          </a:lstStyle>
          <a:p>
            <a:r>
              <a:rPr lang="en-US" noProof="0"/>
              <a:t>Click to edit Master title style</a:t>
            </a:r>
          </a:p>
        </p:txBody>
      </p:sp>
      <p:sp>
        <p:nvSpPr>
          <p:cNvPr id="3" name="Subtitle 2"/>
          <p:cNvSpPr>
            <a:spLocks noGrp="1"/>
          </p:cNvSpPr>
          <p:nvPr>
            <p:ph type="subTitle" idx="1" hasCustomPrompt="1"/>
          </p:nvPr>
        </p:nvSpPr>
        <p:spPr>
          <a:xfrm>
            <a:off x="723900" y="1947916"/>
            <a:ext cx="6544800" cy="1162229"/>
          </a:xfrm>
          <a:prstGeom prst="rect">
            <a:avLst/>
          </a:prstGeom>
        </p:spPr>
        <p:txBody>
          <a:bodyPr lIns="0" tIns="22677" rIns="0" bIns="22677">
            <a:normAutofit/>
          </a:bodyPr>
          <a:lstStyle>
            <a:lvl1pPr marL="0" indent="0" algn="l">
              <a:spcBef>
                <a:spcPts val="400"/>
              </a:spcBef>
              <a:buNone/>
              <a:defRPr sz="2000">
                <a:solidFill>
                  <a:srgbClr val="4D4D4D"/>
                </a:solidFill>
                <a:latin typeface="+mj-lt"/>
                <a:cs typeface="Calibri" panose="020B0604020202020204" pitchFamily="34" charset="0"/>
              </a:defRPr>
            </a:lvl1pPr>
            <a:lvl2pPr marL="408188" indent="0" algn="ctr">
              <a:buNone/>
              <a:defRPr>
                <a:solidFill>
                  <a:schemeClr val="tx1">
                    <a:tint val="75000"/>
                  </a:schemeClr>
                </a:solidFill>
              </a:defRPr>
            </a:lvl2pPr>
            <a:lvl3pPr marL="816376" indent="0" algn="ctr">
              <a:buNone/>
              <a:defRPr>
                <a:solidFill>
                  <a:schemeClr val="tx1">
                    <a:tint val="75000"/>
                  </a:schemeClr>
                </a:solidFill>
              </a:defRPr>
            </a:lvl3pPr>
            <a:lvl4pPr marL="1224564" indent="0" algn="ctr">
              <a:buNone/>
              <a:defRPr>
                <a:solidFill>
                  <a:schemeClr val="tx1">
                    <a:tint val="75000"/>
                  </a:schemeClr>
                </a:solidFill>
              </a:defRPr>
            </a:lvl4pPr>
            <a:lvl5pPr marL="1632753" indent="0" algn="ctr">
              <a:buNone/>
              <a:defRPr>
                <a:solidFill>
                  <a:schemeClr val="tx1">
                    <a:tint val="75000"/>
                  </a:schemeClr>
                </a:solidFill>
              </a:defRPr>
            </a:lvl5pPr>
            <a:lvl6pPr marL="2040941" indent="0" algn="ctr">
              <a:buNone/>
              <a:defRPr>
                <a:solidFill>
                  <a:schemeClr val="tx1">
                    <a:tint val="75000"/>
                  </a:schemeClr>
                </a:solidFill>
              </a:defRPr>
            </a:lvl6pPr>
            <a:lvl7pPr marL="2449129" indent="0" algn="ctr">
              <a:buNone/>
              <a:defRPr>
                <a:solidFill>
                  <a:schemeClr val="tx1">
                    <a:tint val="75000"/>
                  </a:schemeClr>
                </a:solidFill>
              </a:defRPr>
            </a:lvl7pPr>
            <a:lvl8pPr marL="2857317" indent="0" algn="ctr">
              <a:buNone/>
              <a:defRPr>
                <a:solidFill>
                  <a:schemeClr val="tx1">
                    <a:tint val="75000"/>
                  </a:schemeClr>
                </a:solidFill>
              </a:defRPr>
            </a:lvl8pPr>
            <a:lvl9pPr marL="3265505" indent="0" algn="ctr">
              <a:buNone/>
              <a:defRPr>
                <a:solidFill>
                  <a:schemeClr val="tx1">
                    <a:tint val="75000"/>
                  </a:schemeClr>
                </a:solidFill>
              </a:defRPr>
            </a:lvl9pPr>
          </a:lstStyle>
          <a:p>
            <a:r>
              <a:rPr lang="en-US" noProof="0"/>
              <a:t>Click to edit Master subtitle style</a:t>
            </a:r>
          </a:p>
        </p:txBody>
      </p:sp>
      <p:cxnSp>
        <p:nvCxnSpPr>
          <p:cNvPr id="279" name="Straight Connector 7"/>
          <p:cNvCxnSpPr/>
          <p:nvPr/>
        </p:nvCxnSpPr>
        <p:spPr>
          <a:xfrm>
            <a:off x="723900" y="1882544"/>
            <a:ext cx="653796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0"/>
          </p:nvPr>
        </p:nvSpPr>
        <p:spPr>
          <a:xfrm>
            <a:off x="723900" y="3764451"/>
            <a:ext cx="3448957" cy="273844"/>
          </a:xfrm>
          <a:prstGeom prst="rect">
            <a:avLst/>
          </a:prstGeom>
        </p:spPr>
        <p:txBody>
          <a:bodyPr/>
          <a:lstStyle>
            <a:lvl1pPr>
              <a:defRPr sz="1200"/>
            </a:lvl1pPr>
          </a:lstStyle>
          <a:p>
            <a:pPr algn="l"/>
            <a:r>
              <a:rPr lang="en-US" noProof="0"/>
              <a:t>internal / external/ confidential </a:t>
            </a:r>
          </a:p>
        </p:txBody>
      </p:sp>
      <p:pic>
        <p:nvPicPr>
          <p:cNvPr id="32" name="Picture 16" descr="C:\Users\DALLA2\AppData\Local\Temp\PKE5E3.tmp\Celanese new logo_color 40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26611" y="283168"/>
            <a:ext cx="1530489" cy="45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39229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line and call-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3" name="Fußzeilenplatzhalter 2"/>
          <p:cNvSpPr>
            <a:spLocks noGrp="1"/>
          </p:cNvSpPr>
          <p:nvPr>
            <p:ph type="ftr" sz="quarter" idx="15"/>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6"/>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34967715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3" name="Fußzeilenplatzhalter 2"/>
          <p:cNvSpPr>
            <a:spLocks noGrp="1"/>
          </p:cNvSpPr>
          <p:nvPr>
            <p:ph type="ftr" sz="quarter" idx="10"/>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1"/>
          </p:nvPr>
        </p:nvSpPr>
        <p:spPr/>
        <p:txBody>
          <a:bodyPr/>
          <a:lstStyle/>
          <a:p>
            <a:fld id="{90223409-09FC-4660-A923-5454ABA2BCF5}" type="slidenum">
              <a:rPr lang="en-US" noProof="0" smtClean="0"/>
              <a:pPr/>
              <a:t>‹#›</a:t>
            </a:fld>
            <a:endParaRPr lang="en-US" noProof="0"/>
          </a:p>
        </p:txBody>
      </p:sp>
      <p:cxnSp>
        <p:nvCxnSpPr>
          <p:cNvPr id="7" name="Straight Connector 6">
            <a:extLst>
              <a:ext uri="{FF2B5EF4-FFF2-40B4-BE49-F238E27FC236}">
                <a16:creationId xmlns:a16="http://schemas.microsoft.com/office/drawing/2014/main" id="{DB7A436A-5EF3-428C-9F60-79D91CAA053C}"/>
              </a:ext>
            </a:extLst>
          </p:cNvPr>
          <p:cNvCxnSpPr/>
          <p:nvPr/>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2318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Heavy Page Layout withou gray box">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6103" name="think-cell Folie" r:id="rId3" imgW="270" imgH="270" progId="TCLayout.ActiveDocument.1">
                  <p:embed/>
                </p:oleObj>
              </mc:Choice>
              <mc:Fallback>
                <p:oleObj name="think-cell Folie" r:id="rId3" imgW="270" imgH="270" progId="TCLayout.ActiveDocument.1">
                  <p:embed/>
                  <p:pic>
                    <p:nvPicPr>
                      <p:cNvPr id="16" name="Objekt 15" hidden="1"/>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Mastertitelformat bearbeiten</a:t>
            </a:r>
            <a:endParaRPr lang="de-DE" dirty="0"/>
          </a:p>
        </p:txBody>
      </p:sp>
      <p:sp>
        <p:nvSpPr>
          <p:cNvPr id="3" name="Inhaltsplatzhalter 2"/>
          <p:cNvSpPr>
            <a:spLocks noGrp="1"/>
          </p:cNvSpPr>
          <p:nvPr>
            <p:ph idx="1"/>
          </p:nvPr>
        </p:nvSpPr>
        <p:spPr>
          <a:xfrm>
            <a:off x="739777" y="1097416"/>
            <a:ext cx="5154612" cy="1568054"/>
          </a:xfrm>
        </p:spPr>
        <p:txBody>
          <a:bodyPr>
            <a:normAutofit/>
          </a:bodyPr>
          <a:lstStyle>
            <a:lvl1pPr marL="0" indent="0">
              <a:buNone/>
              <a:defRPr sz="1400"/>
            </a:lvl1pPr>
            <a:lvl2pPr marL="217488" indent="-217488">
              <a:buClr>
                <a:schemeClr val="accent1"/>
              </a:buClr>
              <a:buSzPct val="90000"/>
              <a:buFont typeface="Arial" pitchFamily="34" charset="0"/>
              <a:buChar char="►"/>
              <a:defRPr sz="1400"/>
            </a:lvl2pPr>
            <a:lvl3pPr marL="488950" indent="-228600">
              <a:buClr>
                <a:schemeClr val="tx2"/>
              </a:buClr>
              <a:buSzPct val="100000"/>
              <a:buFont typeface="Arial" pitchFamily="34" charset="0"/>
              <a:buChar char="‒"/>
              <a:defRPr sz="1400"/>
            </a:lvl3pPr>
            <a:lvl4pPr marL="762000" indent="-238125">
              <a:buClr>
                <a:schemeClr val="tx1"/>
              </a:buClr>
              <a:buSzPct val="100000"/>
              <a:buFont typeface="Arial" pitchFamily="34" charset="0"/>
              <a:buChar char="‒"/>
              <a:defRPr sz="1400"/>
            </a:lvl4pPr>
            <a:lvl5pPr marL="1041400" indent="-228600">
              <a:buClr>
                <a:schemeClr val="tx1"/>
              </a:buClr>
              <a:buFont typeface="Arial" pitchFamily="34" charset="0"/>
              <a:buChar cha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5"/>
          <p:cNvSpPr>
            <a:spLocks noGrp="1"/>
          </p:cNvSpPr>
          <p:nvPr>
            <p:ph type="sldNum" sz="quarter" idx="12"/>
          </p:nvPr>
        </p:nvSpPr>
        <p:spPr/>
        <p:txBody>
          <a:bodyPr/>
          <a:lstStyle/>
          <a:p>
            <a:fld id="{CBC18623-D5EF-43D5-AE73-F0DD34C132F1}" type="slidenum">
              <a:rPr lang="de-DE" smtClean="0"/>
              <a:t>‹#›</a:t>
            </a:fld>
            <a:endParaRPr lang="de-DE" dirty="0"/>
          </a:p>
        </p:txBody>
      </p:sp>
      <p:sp>
        <p:nvSpPr>
          <p:cNvPr id="8" name="Textplatzhalter 7"/>
          <p:cNvSpPr>
            <a:spLocks noGrp="1"/>
          </p:cNvSpPr>
          <p:nvPr>
            <p:ph type="body" sz="quarter" idx="13"/>
          </p:nvPr>
        </p:nvSpPr>
        <p:spPr>
          <a:xfrm>
            <a:off x="6088745" y="740229"/>
            <a:ext cx="2706913" cy="4136572"/>
          </a:xfrm>
          <a:prstGeom prst="round1Rect">
            <a:avLst>
              <a:gd name="adj" fmla="val 0"/>
            </a:avLst>
          </a:prstGeom>
        </p:spPr>
        <p:txBody>
          <a:bodyPr>
            <a:normAutofit/>
          </a:bodyPr>
          <a:lstStyle>
            <a:lvl1pPr marL="0" indent="0">
              <a:spcBef>
                <a:spcPts val="600"/>
              </a:spcBef>
              <a:buNone/>
              <a:defRPr sz="1600" b="1">
                <a:solidFill>
                  <a:schemeClr val="accent1"/>
                </a:solidFill>
              </a:defRPr>
            </a:lvl1pPr>
            <a:lvl2pPr marL="0" indent="0">
              <a:buNone/>
              <a:defRPr sz="1400"/>
            </a:lvl2pPr>
            <a:lvl3pPr marL="228600" indent="-228600">
              <a:buClr>
                <a:schemeClr val="accent1"/>
              </a:buClr>
              <a:buSzPct val="90000"/>
              <a:buFont typeface="Arial" pitchFamily="34" charset="0"/>
              <a:buChar char="►"/>
              <a:defRPr sz="1400"/>
            </a:lvl3pPr>
            <a:lvl4pPr marL="522288" indent="-238125">
              <a:buClr>
                <a:schemeClr val="tx2"/>
              </a:buClr>
              <a:buFont typeface="Arial" pitchFamily="34" charset="0"/>
              <a:buChar char="‒"/>
              <a:defRPr sz="1400"/>
            </a:lvl4pPr>
            <a:lvl5pPr marL="773113" indent="-228600">
              <a:buClr>
                <a:schemeClr val="tx1"/>
              </a:buClr>
              <a:buSzPct val="100000"/>
              <a:buFont typeface="Arial" pitchFamily="34" charset="0"/>
              <a:buChar cha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11"/>
          <p:cNvSpPr>
            <a:spLocks noGrp="1"/>
          </p:cNvSpPr>
          <p:nvPr>
            <p:ph type="body" sz="quarter" idx="14"/>
          </p:nvPr>
        </p:nvSpPr>
        <p:spPr>
          <a:xfrm>
            <a:off x="739775" y="767954"/>
            <a:ext cx="5154613" cy="320618"/>
          </a:xfrm>
        </p:spPr>
        <p:txBody>
          <a:bodyPr anchor="ctr">
            <a:normAutofit/>
          </a:bodyPr>
          <a:lstStyle>
            <a:lvl1pPr marL="0" indent="0">
              <a:buNone/>
              <a:defRPr sz="1600" b="1">
                <a:solidFill>
                  <a:schemeClr val="tx2"/>
                </a:solidFill>
              </a:defRPr>
            </a:lvl1pPr>
          </a:lstStyle>
          <a:p>
            <a:pPr lvl="0"/>
            <a:r>
              <a:rPr lang="de-DE"/>
              <a:t>Mastertextformat bearbeiten</a:t>
            </a:r>
          </a:p>
        </p:txBody>
      </p:sp>
      <p:sp>
        <p:nvSpPr>
          <p:cNvPr id="14" name="Textplatzhalter 13"/>
          <p:cNvSpPr>
            <a:spLocks noGrp="1"/>
          </p:cNvSpPr>
          <p:nvPr>
            <p:ph type="body" sz="quarter" idx="15"/>
          </p:nvPr>
        </p:nvSpPr>
        <p:spPr>
          <a:xfrm>
            <a:off x="739775" y="2823313"/>
            <a:ext cx="5154613" cy="252413"/>
          </a:xfrm>
        </p:spPr>
        <p:txBody>
          <a:bodyPr>
            <a:normAutofit/>
          </a:bodyPr>
          <a:lstStyle>
            <a:lvl1pPr marL="0" indent="0">
              <a:buNone/>
              <a:defRPr sz="1600" b="1">
                <a:solidFill>
                  <a:schemeClr val="tx2"/>
                </a:solidFill>
              </a:defRPr>
            </a:lvl1pPr>
          </a:lstStyle>
          <a:p>
            <a:pPr lvl="0"/>
            <a:r>
              <a:rPr lang="de-DE"/>
              <a:t>Mastertextformat bearbeiten</a:t>
            </a:r>
          </a:p>
        </p:txBody>
      </p:sp>
      <p:sp>
        <p:nvSpPr>
          <p:cNvPr id="15" name="Inhaltsplatzhalter 2"/>
          <p:cNvSpPr>
            <a:spLocks noGrp="1"/>
          </p:cNvSpPr>
          <p:nvPr>
            <p:ph idx="16"/>
          </p:nvPr>
        </p:nvSpPr>
        <p:spPr>
          <a:xfrm>
            <a:off x="739777" y="3071812"/>
            <a:ext cx="5154612" cy="1568054"/>
          </a:xfrm>
        </p:spPr>
        <p:txBody>
          <a:bodyPr>
            <a:normAutofit/>
          </a:bodyPr>
          <a:lstStyle>
            <a:lvl1pPr marL="0" indent="0">
              <a:buNone/>
              <a:defRPr sz="1400"/>
            </a:lvl1pPr>
            <a:lvl2pPr marL="217488" indent="-217488">
              <a:buClr>
                <a:schemeClr val="accent1"/>
              </a:buClr>
              <a:buSzPct val="90000"/>
              <a:buFont typeface="Arial" pitchFamily="34" charset="0"/>
              <a:buChar char="►"/>
              <a:defRPr sz="1400"/>
            </a:lvl2pPr>
            <a:lvl3pPr marL="488950" indent="-228600">
              <a:buClr>
                <a:schemeClr val="tx2"/>
              </a:buClr>
              <a:buSzPct val="100000"/>
              <a:buFont typeface="Arial" pitchFamily="34" charset="0"/>
              <a:buChar char="‒"/>
              <a:defRPr sz="1400"/>
            </a:lvl3pPr>
            <a:lvl4pPr marL="762000" indent="-238125">
              <a:buClr>
                <a:schemeClr val="tx1"/>
              </a:buClr>
              <a:buSzPct val="100000"/>
              <a:buFont typeface="Arial" pitchFamily="34" charset="0"/>
              <a:buChar char="‒"/>
              <a:defRPr sz="1400"/>
            </a:lvl4pPr>
            <a:lvl5pPr marL="1041400" indent="-228600">
              <a:buClr>
                <a:schemeClr val="tx1"/>
              </a:buClr>
              <a:buFont typeface="Arial" pitchFamily="34" charset="0"/>
              <a:buChar cha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Diagrammplatzhalter 16"/>
          <p:cNvSpPr>
            <a:spLocks noGrp="1"/>
          </p:cNvSpPr>
          <p:nvPr>
            <p:ph type="chart" sz="quarter" idx="17"/>
          </p:nvPr>
        </p:nvSpPr>
        <p:spPr>
          <a:xfrm>
            <a:off x="3787775" y="1097416"/>
            <a:ext cx="2106613" cy="1579960"/>
          </a:xfrm>
        </p:spPr>
        <p:txBody>
          <a:bodyPr>
            <a:normAutofit/>
          </a:bodyPr>
          <a:lstStyle>
            <a:lvl1pPr>
              <a:defRPr sz="1400"/>
            </a:lvl1pPr>
          </a:lstStyle>
          <a:p>
            <a:r>
              <a:rPr lang="de-DE"/>
              <a:t>Diagramm durch Klicken auf Symbol hinzufügen</a:t>
            </a:r>
            <a:endParaRPr lang="de-DE" dirty="0"/>
          </a:p>
        </p:txBody>
      </p:sp>
      <p:sp>
        <p:nvSpPr>
          <p:cNvPr id="18" name="Diagrammplatzhalter 16"/>
          <p:cNvSpPr>
            <a:spLocks noGrp="1"/>
          </p:cNvSpPr>
          <p:nvPr>
            <p:ph type="chart" sz="quarter" idx="18"/>
          </p:nvPr>
        </p:nvSpPr>
        <p:spPr>
          <a:xfrm>
            <a:off x="3787775" y="3057804"/>
            <a:ext cx="2106613" cy="1579960"/>
          </a:xfrm>
        </p:spPr>
        <p:txBody>
          <a:bodyPr>
            <a:normAutofit/>
          </a:bodyPr>
          <a:lstStyle>
            <a:lvl1pPr>
              <a:defRPr sz="1400"/>
            </a:lvl1pPr>
          </a:lstStyle>
          <a:p>
            <a:r>
              <a:rPr lang="de-DE"/>
              <a:t>Diagramm durch Klicken auf Symbol hinzufügen</a:t>
            </a:r>
            <a:endParaRPr lang="de-DE" dirty="0"/>
          </a:p>
        </p:txBody>
      </p:sp>
    </p:spTree>
    <p:extLst>
      <p:ext uri="{BB962C8B-B14F-4D97-AF65-F5344CB8AC3E}">
        <p14:creationId xmlns:p14="http://schemas.microsoft.com/office/powerpoint/2010/main" val="28254846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le">
    <p:spTree>
      <p:nvGrpSpPr>
        <p:cNvPr id="1" name=""/>
        <p:cNvGrpSpPr/>
        <p:nvPr/>
      </p:nvGrpSpPr>
      <p:grpSpPr>
        <a:xfrm>
          <a:off x="0" y="0"/>
          <a:ext cx="0" cy="0"/>
          <a:chOff x="0" y="0"/>
          <a:chExt cx="0" cy="0"/>
        </a:xfrm>
      </p:grpSpPr>
      <p:grpSp>
        <p:nvGrpSpPr>
          <p:cNvPr id="8" name="Gruppieren 7"/>
          <p:cNvGrpSpPr/>
          <p:nvPr userDrawn="1"/>
        </p:nvGrpSpPr>
        <p:grpSpPr>
          <a:xfrm>
            <a:off x="67505" y="2378975"/>
            <a:ext cx="9076495" cy="2764526"/>
            <a:chOff x="-1198563" y="1439863"/>
            <a:chExt cx="9974263" cy="3071812"/>
          </a:xfrm>
        </p:grpSpPr>
        <p:grpSp>
          <p:nvGrpSpPr>
            <p:cNvPr id="9" name="Gruppieren 8"/>
            <p:cNvGrpSpPr/>
            <p:nvPr userDrawn="1"/>
          </p:nvGrpSpPr>
          <p:grpSpPr>
            <a:xfrm>
              <a:off x="1689100" y="3344863"/>
              <a:ext cx="7086600" cy="1166812"/>
              <a:chOff x="1689100" y="3344863"/>
              <a:chExt cx="7086600" cy="1166812"/>
            </a:xfrm>
            <a:solidFill>
              <a:schemeClr val="accent2"/>
            </a:solidFill>
          </p:grpSpPr>
          <p:sp>
            <p:nvSpPr>
              <p:cNvPr id="22" name="Freeform 7"/>
              <p:cNvSpPr>
                <a:spLocks/>
              </p:cNvSpPr>
              <p:nvPr userDrawn="1"/>
            </p:nvSpPr>
            <p:spPr bwMode="auto">
              <a:xfrm>
                <a:off x="3641725" y="4413250"/>
                <a:ext cx="1905000" cy="98425"/>
              </a:xfrm>
              <a:custGeom>
                <a:avLst/>
                <a:gdLst>
                  <a:gd name="T0" fmla="*/ 0 w 508"/>
                  <a:gd name="T1" fmla="*/ 26 h 26"/>
                  <a:gd name="T2" fmla="*/ 30 w 508"/>
                  <a:gd name="T3" fmla="*/ 26 h 26"/>
                  <a:gd name="T4" fmla="*/ 480 w 508"/>
                  <a:gd name="T5" fmla="*/ 26 h 26"/>
                  <a:gd name="T6" fmla="*/ 508 w 508"/>
                  <a:gd name="T7" fmla="*/ 26 h 26"/>
                  <a:gd name="T8" fmla="*/ 0 w 508"/>
                  <a:gd name="T9" fmla="*/ 26 h 26"/>
                </a:gdLst>
                <a:ahLst/>
                <a:cxnLst>
                  <a:cxn ang="0">
                    <a:pos x="T0" y="T1"/>
                  </a:cxn>
                  <a:cxn ang="0">
                    <a:pos x="T2" y="T3"/>
                  </a:cxn>
                  <a:cxn ang="0">
                    <a:pos x="T4" y="T5"/>
                  </a:cxn>
                  <a:cxn ang="0">
                    <a:pos x="T6" y="T7"/>
                  </a:cxn>
                  <a:cxn ang="0">
                    <a:pos x="T8" y="T9"/>
                  </a:cxn>
                </a:cxnLst>
                <a:rect l="0" t="0" r="r" b="b"/>
                <a:pathLst>
                  <a:path w="508" h="26">
                    <a:moveTo>
                      <a:pt x="0" y="26"/>
                    </a:moveTo>
                    <a:cubicBezTo>
                      <a:pt x="30" y="26"/>
                      <a:pt x="30" y="26"/>
                      <a:pt x="30" y="26"/>
                    </a:cubicBezTo>
                    <a:cubicBezTo>
                      <a:pt x="191" y="6"/>
                      <a:pt x="329" y="6"/>
                      <a:pt x="480" y="26"/>
                    </a:cubicBezTo>
                    <a:cubicBezTo>
                      <a:pt x="508" y="26"/>
                      <a:pt x="508" y="26"/>
                      <a:pt x="508" y="26"/>
                    </a:cubicBezTo>
                    <a:cubicBezTo>
                      <a:pt x="337" y="0"/>
                      <a:pt x="184" y="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8"/>
              <p:cNvSpPr>
                <a:spLocks/>
              </p:cNvSpPr>
              <p:nvPr userDrawn="1"/>
            </p:nvSpPr>
            <p:spPr bwMode="auto">
              <a:xfrm>
                <a:off x="3181350" y="4270375"/>
                <a:ext cx="3108325" cy="241300"/>
              </a:xfrm>
              <a:custGeom>
                <a:avLst/>
                <a:gdLst>
                  <a:gd name="T0" fmla="*/ 0 w 829"/>
                  <a:gd name="T1" fmla="*/ 64 h 64"/>
                  <a:gd name="T2" fmla="*/ 21 w 829"/>
                  <a:gd name="T3" fmla="*/ 64 h 64"/>
                  <a:gd name="T4" fmla="*/ 810 w 829"/>
                  <a:gd name="T5" fmla="*/ 64 h 64"/>
                  <a:gd name="T6" fmla="*/ 829 w 829"/>
                  <a:gd name="T7" fmla="*/ 64 h 64"/>
                  <a:gd name="T8" fmla="*/ 0 w 829"/>
                  <a:gd name="T9" fmla="*/ 64 h 64"/>
                </a:gdLst>
                <a:ahLst/>
                <a:cxnLst>
                  <a:cxn ang="0">
                    <a:pos x="T0" y="T1"/>
                  </a:cxn>
                  <a:cxn ang="0">
                    <a:pos x="T2" y="T3"/>
                  </a:cxn>
                  <a:cxn ang="0">
                    <a:pos x="T4" y="T5"/>
                  </a:cxn>
                  <a:cxn ang="0">
                    <a:pos x="T6" y="T7"/>
                  </a:cxn>
                  <a:cxn ang="0">
                    <a:pos x="T8" y="T9"/>
                  </a:cxn>
                </a:cxnLst>
                <a:rect l="0" t="0" r="r" b="b"/>
                <a:pathLst>
                  <a:path w="829" h="64">
                    <a:moveTo>
                      <a:pt x="0" y="64"/>
                    </a:moveTo>
                    <a:cubicBezTo>
                      <a:pt x="21" y="64"/>
                      <a:pt x="21" y="64"/>
                      <a:pt x="21" y="64"/>
                    </a:cubicBezTo>
                    <a:cubicBezTo>
                      <a:pt x="322" y="6"/>
                      <a:pt x="540" y="6"/>
                      <a:pt x="810" y="64"/>
                    </a:cubicBezTo>
                    <a:cubicBezTo>
                      <a:pt x="829" y="64"/>
                      <a:pt x="829" y="64"/>
                      <a:pt x="829" y="64"/>
                    </a:cubicBezTo>
                    <a:cubicBezTo>
                      <a:pt x="544" y="1"/>
                      <a:pt x="319" y="0"/>
                      <a:pt x="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9"/>
              <p:cNvSpPr>
                <a:spLocks/>
              </p:cNvSpPr>
              <p:nvPr userDrawn="1"/>
            </p:nvSpPr>
            <p:spPr bwMode="auto">
              <a:xfrm>
                <a:off x="2854325" y="4110038"/>
                <a:ext cx="4046538" cy="401637"/>
              </a:xfrm>
              <a:custGeom>
                <a:avLst/>
                <a:gdLst>
                  <a:gd name="T0" fmla="*/ 534 w 1079"/>
                  <a:gd name="T1" fmla="*/ 31 h 107"/>
                  <a:gd name="T2" fmla="*/ 0 w 1079"/>
                  <a:gd name="T3" fmla="*/ 107 h 107"/>
                  <a:gd name="T4" fmla="*/ 17 w 1079"/>
                  <a:gd name="T5" fmla="*/ 107 h 107"/>
                  <a:gd name="T6" fmla="*/ 1063 w 1079"/>
                  <a:gd name="T7" fmla="*/ 107 h 107"/>
                  <a:gd name="T8" fmla="*/ 1079 w 1079"/>
                  <a:gd name="T9" fmla="*/ 107 h 107"/>
                  <a:gd name="T10" fmla="*/ 534 w 1079"/>
                  <a:gd name="T11" fmla="*/ 31 h 107"/>
                </a:gdLst>
                <a:ahLst/>
                <a:cxnLst>
                  <a:cxn ang="0">
                    <a:pos x="T0" y="T1"/>
                  </a:cxn>
                  <a:cxn ang="0">
                    <a:pos x="T2" y="T3"/>
                  </a:cxn>
                  <a:cxn ang="0">
                    <a:pos x="T4" y="T5"/>
                  </a:cxn>
                  <a:cxn ang="0">
                    <a:pos x="T6" y="T7"/>
                  </a:cxn>
                  <a:cxn ang="0">
                    <a:pos x="T8" y="T9"/>
                  </a:cxn>
                  <a:cxn ang="0">
                    <a:pos x="T10" y="T11"/>
                  </a:cxn>
                </a:cxnLst>
                <a:rect l="0" t="0" r="r" b="b"/>
                <a:pathLst>
                  <a:path w="1079" h="107">
                    <a:moveTo>
                      <a:pt x="534" y="31"/>
                    </a:moveTo>
                    <a:cubicBezTo>
                      <a:pt x="378" y="33"/>
                      <a:pt x="218" y="56"/>
                      <a:pt x="0" y="107"/>
                    </a:cubicBezTo>
                    <a:cubicBezTo>
                      <a:pt x="17" y="107"/>
                      <a:pt x="17" y="107"/>
                      <a:pt x="17" y="107"/>
                    </a:cubicBezTo>
                    <a:cubicBezTo>
                      <a:pt x="378" y="23"/>
                      <a:pt x="657" y="0"/>
                      <a:pt x="1063" y="107"/>
                    </a:cubicBezTo>
                    <a:cubicBezTo>
                      <a:pt x="1079" y="107"/>
                      <a:pt x="1079" y="107"/>
                      <a:pt x="1079" y="107"/>
                    </a:cubicBezTo>
                    <a:cubicBezTo>
                      <a:pt x="878" y="53"/>
                      <a:pt x="705" y="29"/>
                      <a:pt x="53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10"/>
              <p:cNvSpPr>
                <a:spLocks/>
              </p:cNvSpPr>
              <p:nvPr userDrawn="1"/>
            </p:nvSpPr>
            <p:spPr bwMode="auto">
              <a:xfrm>
                <a:off x="2576512" y="3929063"/>
                <a:ext cx="4883150" cy="582612"/>
              </a:xfrm>
              <a:custGeom>
                <a:avLst/>
                <a:gdLst>
                  <a:gd name="T0" fmla="*/ 0 w 1302"/>
                  <a:gd name="T1" fmla="*/ 155 h 155"/>
                  <a:gd name="T2" fmla="*/ 16 w 1302"/>
                  <a:gd name="T3" fmla="*/ 155 h 155"/>
                  <a:gd name="T4" fmla="*/ 1288 w 1302"/>
                  <a:gd name="T5" fmla="*/ 155 h 155"/>
                  <a:gd name="T6" fmla="*/ 1302 w 1302"/>
                  <a:gd name="T7" fmla="*/ 155 h 155"/>
                  <a:gd name="T8" fmla="*/ 0 w 1302"/>
                  <a:gd name="T9" fmla="*/ 155 h 155"/>
                </a:gdLst>
                <a:ahLst/>
                <a:cxnLst>
                  <a:cxn ang="0">
                    <a:pos x="T0" y="T1"/>
                  </a:cxn>
                  <a:cxn ang="0">
                    <a:pos x="T2" y="T3"/>
                  </a:cxn>
                  <a:cxn ang="0">
                    <a:pos x="T4" y="T5"/>
                  </a:cxn>
                  <a:cxn ang="0">
                    <a:pos x="T6" y="T7"/>
                  </a:cxn>
                  <a:cxn ang="0">
                    <a:pos x="T8" y="T9"/>
                  </a:cxn>
                </a:cxnLst>
                <a:rect l="0" t="0" r="r" b="b"/>
                <a:pathLst>
                  <a:path w="1302" h="155">
                    <a:moveTo>
                      <a:pt x="0" y="155"/>
                    </a:moveTo>
                    <a:cubicBezTo>
                      <a:pt x="16" y="155"/>
                      <a:pt x="16" y="155"/>
                      <a:pt x="16" y="155"/>
                    </a:cubicBezTo>
                    <a:cubicBezTo>
                      <a:pt x="478" y="36"/>
                      <a:pt x="792" y="7"/>
                      <a:pt x="1288" y="155"/>
                    </a:cubicBezTo>
                    <a:cubicBezTo>
                      <a:pt x="1302" y="155"/>
                      <a:pt x="1302" y="155"/>
                      <a:pt x="1302" y="155"/>
                    </a:cubicBezTo>
                    <a:cubicBezTo>
                      <a:pt x="792" y="0"/>
                      <a:pt x="475" y="32"/>
                      <a:pt x="0"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1"/>
              <p:cNvSpPr>
                <a:spLocks/>
              </p:cNvSpPr>
              <p:nvPr userDrawn="1"/>
            </p:nvSpPr>
            <p:spPr bwMode="auto">
              <a:xfrm>
                <a:off x="2333625" y="3798888"/>
                <a:ext cx="5654675" cy="712787"/>
              </a:xfrm>
              <a:custGeom>
                <a:avLst/>
                <a:gdLst>
                  <a:gd name="T0" fmla="*/ 751 w 1508"/>
                  <a:gd name="T1" fmla="*/ 57 h 190"/>
                  <a:gd name="T2" fmla="*/ 0 w 1508"/>
                  <a:gd name="T3" fmla="*/ 190 h 190"/>
                  <a:gd name="T4" fmla="*/ 15 w 1508"/>
                  <a:gd name="T5" fmla="*/ 190 h 190"/>
                  <a:gd name="T6" fmla="*/ 1495 w 1508"/>
                  <a:gd name="T7" fmla="*/ 190 h 190"/>
                  <a:gd name="T8" fmla="*/ 1508 w 1508"/>
                  <a:gd name="T9" fmla="*/ 190 h 190"/>
                  <a:gd name="T10" fmla="*/ 751 w 1508"/>
                  <a:gd name="T11" fmla="*/ 57 h 190"/>
                </a:gdLst>
                <a:ahLst/>
                <a:cxnLst>
                  <a:cxn ang="0">
                    <a:pos x="T0" y="T1"/>
                  </a:cxn>
                  <a:cxn ang="0">
                    <a:pos x="T2" y="T3"/>
                  </a:cxn>
                  <a:cxn ang="0">
                    <a:pos x="T4" y="T5"/>
                  </a:cxn>
                  <a:cxn ang="0">
                    <a:pos x="T6" y="T7"/>
                  </a:cxn>
                  <a:cxn ang="0">
                    <a:pos x="T8" y="T9"/>
                  </a:cxn>
                  <a:cxn ang="0">
                    <a:pos x="T10" y="T11"/>
                  </a:cxn>
                </a:cxnLst>
                <a:rect l="0" t="0" r="r" b="b"/>
                <a:pathLst>
                  <a:path w="1508" h="190">
                    <a:moveTo>
                      <a:pt x="751" y="57"/>
                    </a:moveTo>
                    <a:cubicBezTo>
                      <a:pt x="544" y="61"/>
                      <a:pt x="326" y="99"/>
                      <a:pt x="0" y="190"/>
                    </a:cubicBezTo>
                    <a:cubicBezTo>
                      <a:pt x="15" y="190"/>
                      <a:pt x="15" y="190"/>
                      <a:pt x="15" y="190"/>
                    </a:cubicBezTo>
                    <a:cubicBezTo>
                      <a:pt x="579" y="34"/>
                      <a:pt x="915" y="0"/>
                      <a:pt x="1495" y="190"/>
                    </a:cubicBezTo>
                    <a:cubicBezTo>
                      <a:pt x="1508" y="190"/>
                      <a:pt x="1508" y="190"/>
                      <a:pt x="1508" y="190"/>
                    </a:cubicBezTo>
                    <a:cubicBezTo>
                      <a:pt x="1217" y="94"/>
                      <a:pt x="984" y="53"/>
                      <a:pt x="75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2"/>
              <p:cNvSpPr>
                <a:spLocks/>
              </p:cNvSpPr>
              <p:nvPr userDrawn="1"/>
            </p:nvSpPr>
            <p:spPr bwMode="auto">
              <a:xfrm>
                <a:off x="2108200" y="3663950"/>
                <a:ext cx="6394450" cy="847725"/>
              </a:xfrm>
              <a:custGeom>
                <a:avLst/>
                <a:gdLst>
                  <a:gd name="T0" fmla="*/ 851 w 1705"/>
                  <a:gd name="T1" fmla="*/ 64 h 226"/>
                  <a:gd name="T2" fmla="*/ 0 w 1705"/>
                  <a:gd name="T3" fmla="*/ 226 h 226"/>
                  <a:gd name="T4" fmla="*/ 14 w 1705"/>
                  <a:gd name="T5" fmla="*/ 226 h 226"/>
                  <a:gd name="T6" fmla="*/ 1692 w 1705"/>
                  <a:gd name="T7" fmla="*/ 226 h 226"/>
                  <a:gd name="T8" fmla="*/ 1705 w 1705"/>
                  <a:gd name="T9" fmla="*/ 226 h 226"/>
                  <a:gd name="T10" fmla="*/ 851 w 1705"/>
                  <a:gd name="T11" fmla="*/ 64 h 226"/>
                </a:gdLst>
                <a:ahLst/>
                <a:cxnLst>
                  <a:cxn ang="0">
                    <a:pos x="T0" y="T1"/>
                  </a:cxn>
                  <a:cxn ang="0">
                    <a:pos x="T2" y="T3"/>
                  </a:cxn>
                  <a:cxn ang="0">
                    <a:pos x="T4" y="T5"/>
                  </a:cxn>
                  <a:cxn ang="0">
                    <a:pos x="T6" y="T7"/>
                  </a:cxn>
                  <a:cxn ang="0">
                    <a:pos x="T8" y="T9"/>
                  </a:cxn>
                  <a:cxn ang="0">
                    <a:pos x="T10" y="T11"/>
                  </a:cxn>
                </a:cxnLst>
                <a:rect l="0" t="0" r="r" b="b"/>
                <a:pathLst>
                  <a:path w="1705" h="226">
                    <a:moveTo>
                      <a:pt x="851" y="64"/>
                    </a:moveTo>
                    <a:cubicBezTo>
                      <a:pt x="583" y="70"/>
                      <a:pt x="317" y="133"/>
                      <a:pt x="0" y="226"/>
                    </a:cubicBezTo>
                    <a:cubicBezTo>
                      <a:pt x="14" y="226"/>
                      <a:pt x="14" y="226"/>
                      <a:pt x="14" y="226"/>
                    </a:cubicBezTo>
                    <a:cubicBezTo>
                      <a:pt x="687" y="29"/>
                      <a:pt x="1047" y="0"/>
                      <a:pt x="1692" y="226"/>
                    </a:cubicBezTo>
                    <a:cubicBezTo>
                      <a:pt x="1705" y="226"/>
                      <a:pt x="1705" y="226"/>
                      <a:pt x="1705" y="226"/>
                    </a:cubicBezTo>
                    <a:cubicBezTo>
                      <a:pt x="1373" y="109"/>
                      <a:pt x="1110" y="59"/>
                      <a:pt x="85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3"/>
              <p:cNvSpPr>
                <a:spLocks/>
              </p:cNvSpPr>
              <p:nvPr userDrawn="1"/>
            </p:nvSpPr>
            <p:spPr bwMode="auto">
              <a:xfrm>
                <a:off x="1895475" y="3524250"/>
                <a:ext cx="6880225" cy="987425"/>
              </a:xfrm>
              <a:custGeom>
                <a:avLst/>
                <a:gdLst>
                  <a:gd name="T0" fmla="*/ 1835 w 1835"/>
                  <a:gd name="T1" fmla="*/ 241 h 263"/>
                  <a:gd name="T2" fmla="*/ 924 w 1835"/>
                  <a:gd name="T3" fmla="*/ 74 h 263"/>
                  <a:gd name="T4" fmla="*/ 0 w 1835"/>
                  <a:gd name="T5" fmla="*/ 263 h 263"/>
                  <a:gd name="T6" fmla="*/ 13 w 1835"/>
                  <a:gd name="T7" fmla="*/ 263 h 263"/>
                  <a:gd name="T8" fmla="*/ 1835 w 1835"/>
                  <a:gd name="T9" fmla="*/ 246 h 263"/>
                  <a:gd name="T10" fmla="*/ 1835 w 1835"/>
                  <a:gd name="T11" fmla="*/ 241 h 263"/>
                </a:gdLst>
                <a:ahLst/>
                <a:cxnLst>
                  <a:cxn ang="0">
                    <a:pos x="T0" y="T1"/>
                  </a:cxn>
                  <a:cxn ang="0">
                    <a:pos x="T2" y="T3"/>
                  </a:cxn>
                  <a:cxn ang="0">
                    <a:pos x="T4" y="T5"/>
                  </a:cxn>
                  <a:cxn ang="0">
                    <a:pos x="T6" y="T7"/>
                  </a:cxn>
                  <a:cxn ang="0">
                    <a:pos x="T8" y="T9"/>
                  </a:cxn>
                  <a:cxn ang="0">
                    <a:pos x="T10" y="T11"/>
                  </a:cxn>
                </a:cxnLst>
                <a:rect l="0" t="0" r="r" b="b"/>
                <a:pathLst>
                  <a:path w="1835" h="263">
                    <a:moveTo>
                      <a:pt x="1835" y="241"/>
                    </a:moveTo>
                    <a:cubicBezTo>
                      <a:pt x="1484" y="116"/>
                      <a:pt x="1203" y="64"/>
                      <a:pt x="924" y="74"/>
                    </a:cubicBezTo>
                    <a:cubicBezTo>
                      <a:pt x="639" y="83"/>
                      <a:pt x="348" y="156"/>
                      <a:pt x="0" y="263"/>
                    </a:cubicBezTo>
                    <a:cubicBezTo>
                      <a:pt x="13" y="263"/>
                      <a:pt x="13" y="263"/>
                      <a:pt x="13" y="263"/>
                    </a:cubicBezTo>
                    <a:cubicBezTo>
                      <a:pt x="757" y="36"/>
                      <a:pt x="1148" y="0"/>
                      <a:pt x="1835" y="246"/>
                    </a:cubicBezTo>
                    <a:lnTo>
                      <a:pt x="1835"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4"/>
              <p:cNvSpPr>
                <a:spLocks/>
              </p:cNvSpPr>
              <p:nvPr userDrawn="1"/>
            </p:nvSpPr>
            <p:spPr bwMode="auto">
              <a:xfrm>
                <a:off x="1689100" y="3344863"/>
                <a:ext cx="7086600" cy="1166812"/>
              </a:xfrm>
              <a:custGeom>
                <a:avLst/>
                <a:gdLst>
                  <a:gd name="T0" fmla="*/ 1890 w 1890"/>
                  <a:gd name="T1" fmla="*/ 241 h 311"/>
                  <a:gd name="T2" fmla="*/ 966 w 1890"/>
                  <a:gd name="T3" fmla="*/ 96 h 311"/>
                  <a:gd name="T4" fmla="*/ 0 w 1890"/>
                  <a:gd name="T5" fmla="*/ 311 h 311"/>
                  <a:gd name="T6" fmla="*/ 13 w 1890"/>
                  <a:gd name="T7" fmla="*/ 311 h 311"/>
                  <a:gd name="T8" fmla="*/ 1890 w 1890"/>
                  <a:gd name="T9" fmla="*/ 246 h 311"/>
                  <a:gd name="T10" fmla="*/ 1890 w 1890"/>
                  <a:gd name="T11" fmla="*/ 241 h 311"/>
                </a:gdLst>
                <a:ahLst/>
                <a:cxnLst>
                  <a:cxn ang="0">
                    <a:pos x="T0" y="T1"/>
                  </a:cxn>
                  <a:cxn ang="0">
                    <a:pos x="T2" y="T3"/>
                  </a:cxn>
                  <a:cxn ang="0">
                    <a:pos x="T4" y="T5"/>
                  </a:cxn>
                  <a:cxn ang="0">
                    <a:pos x="T6" y="T7"/>
                  </a:cxn>
                  <a:cxn ang="0">
                    <a:pos x="T8" y="T9"/>
                  </a:cxn>
                  <a:cxn ang="0">
                    <a:pos x="T10" y="T11"/>
                  </a:cxn>
                </a:cxnLst>
                <a:rect l="0" t="0" r="r" b="b"/>
                <a:pathLst>
                  <a:path w="1890" h="311">
                    <a:moveTo>
                      <a:pt x="1890" y="241"/>
                    </a:moveTo>
                    <a:cubicBezTo>
                      <a:pt x="1542" y="123"/>
                      <a:pt x="1257" y="78"/>
                      <a:pt x="966" y="96"/>
                    </a:cubicBezTo>
                    <a:cubicBezTo>
                      <a:pt x="673" y="113"/>
                      <a:pt x="368" y="194"/>
                      <a:pt x="0" y="311"/>
                    </a:cubicBezTo>
                    <a:cubicBezTo>
                      <a:pt x="13" y="311"/>
                      <a:pt x="13" y="311"/>
                      <a:pt x="13" y="311"/>
                    </a:cubicBezTo>
                    <a:cubicBezTo>
                      <a:pt x="741" y="81"/>
                      <a:pt x="1168" y="0"/>
                      <a:pt x="1890" y="246"/>
                    </a:cubicBezTo>
                    <a:lnTo>
                      <a:pt x="189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grpSp>
          <p:nvGrpSpPr>
            <p:cNvPr id="10" name="Gruppieren 9"/>
            <p:cNvGrpSpPr/>
            <p:nvPr userDrawn="1"/>
          </p:nvGrpSpPr>
          <p:grpSpPr>
            <a:xfrm>
              <a:off x="-1198563" y="1439863"/>
              <a:ext cx="9974263" cy="3071812"/>
              <a:chOff x="-1198563" y="1439863"/>
              <a:chExt cx="9974263" cy="3071812"/>
            </a:xfrm>
          </p:grpSpPr>
          <p:sp>
            <p:nvSpPr>
              <p:cNvPr id="20" name="Freeform 6"/>
              <p:cNvSpPr>
                <a:spLocks/>
              </p:cNvSpPr>
              <p:nvPr userDrawn="1"/>
            </p:nvSpPr>
            <p:spPr bwMode="auto">
              <a:xfrm>
                <a:off x="-677863" y="3094038"/>
                <a:ext cx="9453563" cy="1417637"/>
              </a:xfrm>
              <a:custGeom>
                <a:avLst/>
                <a:gdLst>
                  <a:gd name="T0" fmla="*/ 2521 w 2521"/>
                  <a:gd name="T1" fmla="*/ 220 h 378"/>
                  <a:gd name="T2" fmla="*/ 1724 w 2521"/>
                  <a:gd name="T3" fmla="*/ 38 h 378"/>
                  <a:gd name="T4" fmla="*/ 2521 w 2521"/>
                  <a:gd name="T5" fmla="*/ 164 h 378"/>
                  <a:gd name="T6" fmla="*/ 1716 w 2521"/>
                  <a:gd name="T7" fmla="*/ 30 h 378"/>
                  <a:gd name="T8" fmla="*/ 1553 w 2521"/>
                  <a:gd name="T9" fmla="*/ 41 h 378"/>
                  <a:gd name="T10" fmla="*/ 1501 w 2521"/>
                  <a:gd name="T11" fmla="*/ 41 h 378"/>
                  <a:gd name="T12" fmla="*/ 1449 w 2521"/>
                  <a:gd name="T13" fmla="*/ 36 h 378"/>
                  <a:gd name="T14" fmla="*/ 986 w 2521"/>
                  <a:gd name="T15" fmla="*/ 35 h 378"/>
                  <a:gd name="T16" fmla="*/ 0 w 2521"/>
                  <a:gd name="T17" fmla="*/ 378 h 378"/>
                  <a:gd name="T18" fmla="*/ 647 w 2521"/>
                  <a:gd name="T19" fmla="*/ 162 h 378"/>
                  <a:gd name="T20" fmla="*/ 1350 w 2521"/>
                  <a:gd name="T21" fmla="*/ 24 h 378"/>
                  <a:gd name="T22" fmla="*/ 666 w 2521"/>
                  <a:gd name="T23" fmla="*/ 169 h 378"/>
                  <a:gd name="T24" fmla="*/ 64 w 2521"/>
                  <a:gd name="T25" fmla="*/ 378 h 378"/>
                  <a:gd name="T26" fmla="*/ 996 w 2521"/>
                  <a:gd name="T27" fmla="*/ 54 h 378"/>
                  <a:gd name="T28" fmla="*/ 1005 w 2521"/>
                  <a:gd name="T29" fmla="*/ 65 h 378"/>
                  <a:gd name="T30" fmla="*/ 94 w 2521"/>
                  <a:gd name="T31" fmla="*/ 378 h 378"/>
                  <a:gd name="T32" fmla="*/ 688 w 2521"/>
                  <a:gd name="T33" fmla="*/ 183 h 378"/>
                  <a:gd name="T34" fmla="*/ 1412 w 2521"/>
                  <a:gd name="T35" fmla="*/ 36 h 378"/>
                  <a:gd name="T36" fmla="*/ 707 w 2521"/>
                  <a:gd name="T37" fmla="*/ 190 h 378"/>
                  <a:gd name="T38" fmla="*/ 159 w 2521"/>
                  <a:gd name="T39" fmla="*/ 378 h 378"/>
                  <a:gd name="T40" fmla="*/ 1015 w 2521"/>
                  <a:gd name="T41" fmla="*/ 84 h 378"/>
                  <a:gd name="T42" fmla="*/ 1024 w 2521"/>
                  <a:gd name="T43" fmla="*/ 95 h 378"/>
                  <a:gd name="T44" fmla="*/ 189 w 2521"/>
                  <a:gd name="T45" fmla="*/ 378 h 378"/>
                  <a:gd name="T46" fmla="*/ 729 w 2521"/>
                  <a:gd name="T47" fmla="*/ 204 h 378"/>
                  <a:gd name="T48" fmla="*/ 1453 w 2521"/>
                  <a:gd name="T49" fmla="*/ 43 h 378"/>
                  <a:gd name="T50" fmla="*/ 1033 w 2521"/>
                  <a:gd name="T51" fmla="*/ 110 h 378"/>
                  <a:gd name="T52" fmla="*/ 237 w 2521"/>
                  <a:gd name="T53" fmla="*/ 378 h 378"/>
                  <a:gd name="T54" fmla="*/ 749 w 2521"/>
                  <a:gd name="T55" fmla="*/ 215 h 378"/>
                  <a:gd name="T56" fmla="*/ 1470 w 2521"/>
                  <a:gd name="T57" fmla="*/ 47 h 378"/>
                  <a:gd name="T58" fmla="*/ 1043 w 2521"/>
                  <a:gd name="T59" fmla="*/ 125 h 378"/>
                  <a:gd name="T60" fmla="*/ 285 w 2521"/>
                  <a:gd name="T61" fmla="*/ 378 h 378"/>
                  <a:gd name="T62" fmla="*/ 769 w 2521"/>
                  <a:gd name="T63" fmla="*/ 226 h 378"/>
                  <a:gd name="T64" fmla="*/ 1484 w 2521"/>
                  <a:gd name="T65" fmla="*/ 51 h 378"/>
                  <a:gd name="T66" fmla="*/ 1052 w 2521"/>
                  <a:gd name="T67" fmla="*/ 139 h 378"/>
                  <a:gd name="T68" fmla="*/ 333 w 2521"/>
                  <a:gd name="T69" fmla="*/ 378 h 378"/>
                  <a:gd name="T70" fmla="*/ 789 w 2521"/>
                  <a:gd name="T71" fmla="*/ 237 h 378"/>
                  <a:gd name="T72" fmla="*/ 1494 w 2521"/>
                  <a:gd name="T73" fmla="*/ 53 h 378"/>
                  <a:gd name="T74" fmla="*/ 2134 w 2521"/>
                  <a:gd name="T75" fmla="*/ 378 h 378"/>
                  <a:gd name="T76" fmla="*/ 1506 w 2521"/>
                  <a:gd name="T77" fmla="*/ 52 h 378"/>
                  <a:gd name="T78" fmla="*/ 2224 w 2521"/>
                  <a:gd name="T79" fmla="*/ 378 h 378"/>
                  <a:gd name="T80" fmla="*/ 2230 w 2521"/>
                  <a:gd name="T81" fmla="*/ 378 h 378"/>
                  <a:gd name="T82" fmla="*/ 1522 w 2521"/>
                  <a:gd name="T83" fmla="*/ 50 h 378"/>
                  <a:gd name="T84" fmla="*/ 2329 w 2521"/>
                  <a:gd name="T85" fmla="*/ 378 h 378"/>
                  <a:gd name="T86" fmla="*/ 2335 w 2521"/>
                  <a:gd name="T87" fmla="*/ 378 h 378"/>
                  <a:gd name="T88" fmla="*/ 1545 w 2521"/>
                  <a:gd name="T89" fmla="*/ 49 h 378"/>
                  <a:gd name="T90" fmla="*/ 2445 w 2521"/>
                  <a:gd name="T91" fmla="*/ 378 h 378"/>
                  <a:gd name="T92" fmla="*/ 1722 w 2521"/>
                  <a:gd name="T93" fmla="*/ 71 h 378"/>
                  <a:gd name="T94" fmla="*/ 1559 w 2521"/>
                  <a:gd name="T95" fmla="*/ 46 h 378"/>
                  <a:gd name="T96" fmla="*/ 2521 w 2521"/>
                  <a:gd name="T97" fmla="*/ 349 h 378"/>
                  <a:gd name="T98" fmla="*/ 1593 w 2521"/>
                  <a:gd name="T99" fmla="*/ 45 h 378"/>
                  <a:gd name="T100" fmla="*/ 2521 w 2521"/>
                  <a:gd name="T101" fmla="*/ 278 h 378"/>
                  <a:gd name="T102" fmla="*/ 1638 w 2521"/>
                  <a:gd name="T103" fmla="*/ 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1" h="378">
                    <a:moveTo>
                      <a:pt x="1638" y="42"/>
                    </a:moveTo>
                    <a:cubicBezTo>
                      <a:pt x="1950" y="36"/>
                      <a:pt x="2246" y="95"/>
                      <a:pt x="2521" y="220"/>
                    </a:cubicBezTo>
                    <a:cubicBezTo>
                      <a:pt x="2521" y="215"/>
                      <a:pt x="2521" y="215"/>
                      <a:pt x="2521" y="215"/>
                    </a:cubicBezTo>
                    <a:cubicBezTo>
                      <a:pt x="2271" y="103"/>
                      <a:pt x="2003" y="43"/>
                      <a:pt x="1724" y="38"/>
                    </a:cubicBezTo>
                    <a:cubicBezTo>
                      <a:pt x="1700" y="37"/>
                      <a:pt x="1675" y="37"/>
                      <a:pt x="1650" y="38"/>
                    </a:cubicBezTo>
                    <a:cubicBezTo>
                      <a:pt x="1920" y="19"/>
                      <a:pt x="2211" y="46"/>
                      <a:pt x="2521" y="164"/>
                    </a:cubicBezTo>
                    <a:cubicBezTo>
                      <a:pt x="2521" y="160"/>
                      <a:pt x="2521" y="160"/>
                      <a:pt x="2521" y="160"/>
                    </a:cubicBezTo>
                    <a:cubicBezTo>
                      <a:pt x="2264" y="62"/>
                      <a:pt x="2001" y="20"/>
                      <a:pt x="1716" y="30"/>
                    </a:cubicBezTo>
                    <a:cubicBezTo>
                      <a:pt x="1669" y="32"/>
                      <a:pt x="1623" y="36"/>
                      <a:pt x="1579" y="40"/>
                    </a:cubicBezTo>
                    <a:cubicBezTo>
                      <a:pt x="1570" y="40"/>
                      <a:pt x="1562" y="41"/>
                      <a:pt x="1553" y="41"/>
                    </a:cubicBezTo>
                    <a:cubicBezTo>
                      <a:pt x="1545" y="41"/>
                      <a:pt x="1537" y="41"/>
                      <a:pt x="1530" y="41"/>
                    </a:cubicBezTo>
                    <a:cubicBezTo>
                      <a:pt x="1520" y="41"/>
                      <a:pt x="1511" y="41"/>
                      <a:pt x="1501" y="41"/>
                    </a:cubicBezTo>
                    <a:cubicBezTo>
                      <a:pt x="1492" y="40"/>
                      <a:pt x="1483" y="39"/>
                      <a:pt x="1475" y="39"/>
                    </a:cubicBezTo>
                    <a:cubicBezTo>
                      <a:pt x="1466" y="38"/>
                      <a:pt x="1457" y="37"/>
                      <a:pt x="1449" y="36"/>
                    </a:cubicBezTo>
                    <a:cubicBezTo>
                      <a:pt x="1441" y="35"/>
                      <a:pt x="1433" y="34"/>
                      <a:pt x="1426" y="33"/>
                    </a:cubicBezTo>
                    <a:cubicBezTo>
                      <a:pt x="1267" y="0"/>
                      <a:pt x="1117" y="1"/>
                      <a:pt x="986" y="35"/>
                    </a:cubicBezTo>
                    <a:cubicBezTo>
                      <a:pt x="892" y="60"/>
                      <a:pt x="777" y="106"/>
                      <a:pt x="645" y="158"/>
                    </a:cubicBezTo>
                    <a:cubicBezTo>
                      <a:pt x="455" y="234"/>
                      <a:pt x="239" y="319"/>
                      <a:pt x="0" y="378"/>
                    </a:cubicBezTo>
                    <a:cubicBezTo>
                      <a:pt x="17" y="378"/>
                      <a:pt x="17" y="378"/>
                      <a:pt x="17" y="378"/>
                    </a:cubicBezTo>
                    <a:cubicBezTo>
                      <a:pt x="250" y="319"/>
                      <a:pt x="460" y="236"/>
                      <a:pt x="647" y="162"/>
                    </a:cubicBezTo>
                    <a:cubicBezTo>
                      <a:pt x="779" y="109"/>
                      <a:pt x="893" y="64"/>
                      <a:pt x="987" y="39"/>
                    </a:cubicBezTo>
                    <a:cubicBezTo>
                      <a:pt x="1102" y="9"/>
                      <a:pt x="1226" y="6"/>
                      <a:pt x="1350" y="24"/>
                    </a:cubicBezTo>
                    <a:cubicBezTo>
                      <a:pt x="1223" y="13"/>
                      <a:pt x="1103" y="22"/>
                      <a:pt x="995" y="50"/>
                    </a:cubicBezTo>
                    <a:cubicBezTo>
                      <a:pt x="901" y="75"/>
                      <a:pt x="792" y="118"/>
                      <a:pt x="666" y="169"/>
                    </a:cubicBezTo>
                    <a:cubicBezTo>
                      <a:pt x="485" y="241"/>
                      <a:pt x="280" y="322"/>
                      <a:pt x="47" y="378"/>
                    </a:cubicBezTo>
                    <a:cubicBezTo>
                      <a:pt x="64" y="378"/>
                      <a:pt x="64" y="378"/>
                      <a:pt x="64" y="378"/>
                    </a:cubicBezTo>
                    <a:cubicBezTo>
                      <a:pt x="290" y="322"/>
                      <a:pt x="490" y="243"/>
                      <a:pt x="667" y="172"/>
                    </a:cubicBezTo>
                    <a:cubicBezTo>
                      <a:pt x="794" y="122"/>
                      <a:pt x="903" y="79"/>
                      <a:pt x="996" y="54"/>
                    </a:cubicBezTo>
                    <a:cubicBezTo>
                      <a:pt x="1116" y="23"/>
                      <a:pt x="1244" y="17"/>
                      <a:pt x="1373" y="30"/>
                    </a:cubicBezTo>
                    <a:cubicBezTo>
                      <a:pt x="1242" y="24"/>
                      <a:pt x="1118" y="35"/>
                      <a:pt x="1005" y="65"/>
                    </a:cubicBezTo>
                    <a:cubicBezTo>
                      <a:pt x="911" y="90"/>
                      <a:pt x="807" y="131"/>
                      <a:pt x="687" y="179"/>
                    </a:cubicBezTo>
                    <a:cubicBezTo>
                      <a:pt x="515" y="248"/>
                      <a:pt x="320" y="325"/>
                      <a:pt x="94" y="378"/>
                    </a:cubicBezTo>
                    <a:cubicBezTo>
                      <a:pt x="112" y="378"/>
                      <a:pt x="112" y="378"/>
                      <a:pt x="112" y="378"/>
                    </a:cubicBezTo>
                    <a:cubicBezTo>
                      <a:pt x="331" y="325"/>
                      <a:pt x="520" y="250"/>
                      <a:pt x="688" y="183"/>
                    </a:cubicBezTo>
                    <a:cubicBezTo>
                      <a:pt x="809" y="135"/>
                      <a:pt x="913" y="93"/>
                      <a:pt x="1006" y="69"/>
                    </a:cubicBezTo>
                    <a:cubicBezTo>
                      <a:pt x="1131" y="36"/>
                      <a:pt x="1269" y="26"/>
                      <a:pt x="1412" y="36"/>
                    </a:cubicBezTo>
                    <a:cubicBezTo>
                      <a:pt x="1272" y="33"/>
                      <a:pt x="1138" y="48"/>
                      <a:pt x="1014" y="80"/>
                    </a:cubicBezTo>
                    <a:cubicBezTo>
                      <a:pt x="921" y="104"/>
                      <a:pt x="822" y="144"/>
                      <a:pt x="707" y="190"/>
                    </a:cubicBezTo>
                    <a:cubicBezTo>
                      <a:pt x="545" y="255"/>
                      <a:pt x="360" y="328"/>
                      <a:pt x="142" y="378"/>
                    </a:cubicBezTo>
                    <a:cubicBezTo>
                      <a:pt x="159" y="378"/>
                      <a:pt x="159" y="378"/>
                      <a:pt x="159" y="378"/>
                    </a:cubicBezTo>
                    <a:cubicBezTo>
                      <a:pt x="371" y="328"/>
                      <a:pt x="550" y="257"/>
                      <a:pt x="709" y="194"/>
                    </a:cubicBezTo>
                    <a:cubicBezTo>
                      <a:pt x="823" y="148"/>
                      <a:pt x="922" y="108"/>
                      <a:pt x="1015" y="84"/>
                    </a:cubicBezTo>
                    <a:cubicBezTo>
                      <a:pt x="1143" y="50"/>
                      <a:pt x="1281" y="36"/>
                      <a:pt x="1423" y="41"/>
                    </a:cubicBezTo>
                    <a:cubicBezTo>
                      <a:pt x="1285" y="44"/>
                      <a:pt x="1150" y="62"/>
                      <a:pt x="1024" y="95"/>
                    </a:cubicBezTo>
                    <a:cubicBezTo>
                      <a:pt x="931" y="119"/>
                      <a:pt x="832" y="159"/>
                      <a:pt x="728" y="201"/>
                    </a:cubicBezTo>
                    <a:cubicBezTo>
                      <a:pt x="574" y="262"/>
                      <a:pt x="401" y="331"/>
                      <a:pt x="189" y="378"/>
                    </a:cubicBezTo>
                    <a:cubicBezTo>
                      <a:pt x="208" y="378"/>
                      <a:pt x="208" y="378"/>
                      <a:pt x="208" y="378"/>
                    </a:cubicBezTo>
                    <a:cubicBezTo>
                      <a:pt x="411" y="331"/>
                      <a:pt x="580" y="264"/>
                      <a:pt x="729" y="204"/>
                    </a:cubicBezTo>
                    <a:cubicBezTo>
                      <a:pt x="834" y="163"/>
                      <a:pt x="932" y="123"/>
                      <a:pt x="1025" y="99"/>
                    </a:cubicBezTo>
                    <a:cubicBezTo>
                      <a:pt x="1163" y="62"/>
                      <a:pt x="1307" y="44"/>
                      <a:pt x="1453" y="43"/>
                    </a:cubicBezTo>
                    <a:cubicBezTo>
                      <a:pt x="1455" y="43"/>
                      <a:pt x="1456" y="44"/>
                      <a:pt x="1457" y="44"/>
                    </a:cubicBezTo>
                    <a:cubicBezTo>
                      <a:pt x="1314" y="52"/>
                      <a:pt x="1170" y="74"/>
                      <a:pt x="1033" y="110"/>
                    </a:cubicBezTo>
                    <a:cubicBezTo>
                      <a:pt x="941" y="134"/>
                      <a:pt x="847" y="172"/>
                      <a:pt x="748" y="211"/>
                    </a:cubicBezTo>
                    <a:cubicBezTo>
                      <a:pt x="604" y="269"/>
                      <a:pt x="441" y="334"/>
                      <a:pt x="237" y="378"/>
                    </a:cubicBezTo>
                    <a:cubicBezTo>
                      <a:pt x="256" y="378"/>
                      <a:pt x="256" y="378"/>
                      <a:pt x="256" y="378"/>
                    </a:cubicBezTo>
                    <a:cubicBezTo>
                      <a:pt x="452" y="334"/>
                      <a:pt x="609" y="271"/>
                      <a:pt x="749" y="215"/>
                    </a:cubicBezTo>
                    <a:cubicBezTo>
                      <a:pt x="848" y="175"/>
                      <a:pt x="942" y="138"/>
                      <a:pt x="1034" y="114"/>
                    </a:cubicBezTo>
                    <a:cubicBezTo>
                      <a:pt x="1144" y="85"/>
                      <a:pt x="1294" y="56"/>
                      <a:pt x="1470" y="47"/>
                    </a:cubicBezTo>
                    <a:cubicBezTo>
                      <a:pt x="1470" y="47"/>
                      <a:pt x="1471" y="47"/>
                      <a:pt x="1471" y="47"/>
                    </a:cubicBezTo>
                    <a:cubicBezTo>
                      <a:pt x="1332" y="61"/>
                      <a:pt x="1188" y="86"/>
                      <a:pt x="1043" y="125"/>
                    </a:cubicBezTo>
                    <a:cubicBezTo>
                      <a:pt x="951" y="149"/>
                      <a:pt x="862" y="184"/>
                      <a:pt x="768" y="222"/>
                    </a:cubicBezTo>
                    <a:cubicBezTo>
                      <a:pt x="633" y="276"/>
                      <a:pt x="481" y="337"/>
                      <a:pt x="285" y="378"/>
                    </a:cubicBezTo>
                    <a:cubicBezTo>
                      <a:pt x="304" y="378"/>
                      <a:pt x="304" y="378"/>
                      <a:pt x="304" y="378"/>
                    </a:cubicBezTo>
                    <a:cubicBezTo>
                      <a:pt x="492" y="337"/>
                      <a:pt x="639" y="278"/>
                      <a:pt x="769" y="226"/>
                    </a:cubicBezTo>
                    <a:cubicBezTo>
                      <a:pt x="863" y="188"/>
                      <a:pt x="952" y="153"/>
                      <a:pt x="1044" y="128"/>
                    </a:cubicBezTo>
                    <a:cubicBezTo>
                      <a:pt x="1194" y="89"/>
                      <a:pt x="1340" y="63"/>
                      <a:pt x="1484" y="51"/>
                    </a:cubicBezTo>
                    <a:cubicBezTo>
                      <a:pt x="1484" y="51"/>
                      <a:pt x="1484" y="51"/>
                      <a:pt x="1484" y="51"/>
                    </a:cubicBezTo>
                    <a:cubicBezTo>
                      <a:pt x="1320" y="73"/>
                      <a:pt x="1172" y="108"/>
                      <a:pt x="1052" y="139"/>
                    </a:cubicBezTo>
                    <a:cubicBezTo>
                      <a:pt x="960" y="164"/>
                      <a:pt x="876" y="197"/>
                      <a:pt x="788" y="233"/>
                    </a:cubicBezTo>
                    <a:cubicBezTo>
                      <a:pt x="663" y="284"/>
                      <a:pt x="521" y="340"/>
                      <a:pt x="333" y="378"/>
                    </a:cubicBezTo>
                    <a:cubicBezTo>
                      <a:pt x="353" y="378"/>
                      <a:pt x="353" y="378"/>
                      <a:pt x="353" y="378"/>
                    </a:cubicBezTo>
                    <a:cubicBezTo>
                      <a:pt x="532" y="340"/>
                      <a:pt x="668" y="286"/>
                      <a:pt x="789" y="237"/>
                    </a:cubicBezTo>
                    <a:cubicBezTo>
                      <a:pt x="878" y="201"/>
                      <a:pt x="962" y="167"/>
                      <a:pt x="1054" y="143"/>
                    </a:cubicBezTo>
                    <a:cubicBezTo>
                      <a:pt x="1191" y="107"/>
                      <a:pt x="1339" y="74"/>
                      <a:pt x="1494" y="53"/>
                    </a:cubicBezTo>
                    <a:cubicBezTo>
                      <a:pt x="1729" y="115"/>
                      <a:pt x="1957" y="239"/>
                      <a:pt x="2128" y="378"/>
                    </a:cubicBezTo>
                    <a:cubicBezTo>
                      <a:pt x="2134" y="378"/>
                      <a:pt x="2134" y="378"/>
                      <a:pt x="2134" y="378"/>
                    </a:cubicBezTo>
                    <a:cubicBezTo>
                      <a:pt x="1974" y="247"/>
                      <a:pt x="1780" y="140"/>
                      <a:pt x="1587" y="76"/>
                    </a:cubicBezTo>
                    <a:cubicBezTo>
                      <a:pt x="1560" y="67"/>
                      <a:pt x="1533" y="59"/>
                      <a:pt x="1506" y="52"/>
                    </a:cubicBezTo>
                    <a:cubicBezTo>
                      <a:pt x="1507" y="52"/>
                      <a:pt x="1507" y="52"/>
                      <a:pt x="1508" y="51"/>
                    </a:cubicBezTo>
                    <a:cubicBezTo>
                      <a:pt x="1773" y="106"/>
                      <a:pt x="2032" y="233"/>
                      <a:pt x="2224" y="378"/>
                    </a:cubicBezTo>
                    <a:cubicBezTo>
                      <a:pt x="2230" y="378"/>
                      <a:pt x="2230" y="378"/>
                      <a:pt x="2230" y="378"/>
                    </a:cubicBezTo>
                    <a:cubicBezTo>
                      <a:pt x="2230" y="378"/>
                      <a:pt x="2230" y="378"/>
                      <a:pt x="2230" y="378"/>
                    </a:cubicBezTo>
                    <a:cubicBezTo>
                      <a:pt x="2054" y="244"/>
                      <a:pt x="1841" y="137"/>
                      <a:pt x="1631" y="77"/>
                    </a:cubicBezTo>
                    <a:cubicBezTo>
                      <a:pt x="1594" y="66"/>
                      <a:pt x="1558" y="57"/>
                      <a:pt x="1522" y="50"/>
                    </a:cubicBezTo>
                    <a:cubicBezTo>
                      <a:pt x="1524" y="50"/>
                      <a:pt x="1525" y="49"/>
                      <a:pt x="1527" y="49"/>
                    </a:cubicBezTo>
                    <a:cubicBezTo>
                      <a:pt x="1800" y="90"/>
                      <a:pt x="2084" y="203"/>
                      <a:pt x="2329" y="378"/>
                    </a:cubicBezTo>
                    <a:cubicBezTo>
                      <a:pt x="2335" y="378"/>
                      <a:pt x="2335" y="378"/>
                      <a:pt x="2335" y="378"/>
                    </a:cubicBezTo>
                    <a:cubicBezTo>
                      <a:pt x="2335" y="378"/>
                      <a:pt x="2335" y="378"/>
                      <a:pt x="2335" y="378"/>
                    </a:cubicBezTo>
                    <a:cubicBezTo>
                      <a:pt x="2139" y="237"/>
                      <a:pt x="1911" y="132"/>
                      <a:pt x="1676" y="75"/>
                    </a:cubicBezTo>
                    <a:cubicBezTo>
                      <a:pt x="1632" y="65"/>
                      <a:pt x="1588" y="56"/>
                      <a:pt x="1545" y="49"/>
                    </a:cubicBezTo>
                    <a:cubicBezTo>
                      <a:pt x="1854" y="80"/>
                      <a:pt x="2173" y="194"/>
                      <a:pt x="2441" y="378"/>
                    </a:cubicBezTo>
                    <a:cubicBezTo>
                      <a:pt x="2445" y="378"/>
                      <a:pt x="2445" y="378"/>
                      <a:pt x="2445" y="378"/>
                    </a:cubicBezTo>
                    <a:cubicBezTo>
                      <a:pt x="2446" y="377"/>
                      <a:pt x="2446" y="377"/>
                      <a:pt x="2446" y="377"/>
                    </a:cubicBezTo>
                    <a:cubicBezTo>
                      <a:pt x="2231" y="228"/>
                      <a:pt x="1980" y="123"/>
                      <a:pt x="1722" y="71"/>
                    </a:cubicBezTo>
                    <a:cubicBezTo>
                      <a:pt x="1666" y="60"/>
                      <a:pt x="1611" y="52"/>
                      <a:pt x="1557" y="46"/>
                    </a:cubicBezTo>
                    <a:cubicBezTo>
                      <a:pt x="1557" y="46"/>
                      <a:pt x="1558" y="46"/>
                      <a:pt x="1559" y="46"/>
                    </a:cubicBezTo>
                    <a:cubicBezTo>
                      <a:pt x="1892" y="62"/>
                      <a:pt x="2229" y="168"/>
                      <a:pt x="2521" y="353"/>
                    </a:cubicBezTo>
                    <a:cubicBezTo>
                      <a:pt x="2521" y="349"/>
                      <a:pt x="2521" y="349"/>
                      <a:pt x="2521" y="349"/>
                    </a:cubicBezTo>
                    <a:cubicBezTo>
                      <a:pt x="2285" y="199"/>
                      <a:pt x="2025" y="102"/>
                      <a:pt x="1747" y="61"/>
                    </a:cubicBezTo>
                    <a:cubicBezTo>
                      <a:pt x="1696" y="54"/>
                      <a:pt x="1644" y="48"/>
                      <a:pt x="1593" y="45"/>
                    </a:cubicBezTo>
                    <a:cubicBezTo>
                      <a:pt x="1867" y="48"/>
                      <a:pt x="2190" y="105"/>
                      <a:pt x="2521" y="282"/>
                    </a:cubicBezTo>
                    <a:cubicBezTo>
                      <a:pt x="2521" y="278"/>
                      <a:pt x="2521" y="278"/>
                      <a:pt x="2521" y="278"/>
                    </a:cubicBezTo>
                    <a:cubicBezTo>
                      <a:pt x="2277" y="147"/>
                      <a:pt x="2012" y="70"/>
                      <a:pt x="1734" y="48"/>
                    </a:cubicBezTo>
                    <a:cubicBezTo>
                      <a:pt x="1702" y="45"/>
                      <a:pt x="1670" y="43"/>
                      <a:pt x="1638" y="4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21" name="Freeform 15"/>
              <p:cNvSpPr>
                <a:spLocks/>
              </p:cNvSpPr>
              <p:nvPr userDrawn="1"/>
            </p:nvSpPr>
            <p:spPr bwMode="auto">
              <a:xfrm>
                <a:off x="-1198563" y="1439863"/>
                <a:ext cx="9974263" cy="3071812"/>
              </a:xfrm>
              <a:custGeom>
                <a:avLst/>
                <a:gdLst>
                  <a:gd name="T0" fmla="*/ 2660 w 2660"/>
                  <a:gd name="T1" fmla="*/ 0 h 819"/>
                  <a:gd name="T2" fmla="*/ 1409 w 2660"/>
                  <a:gd name="T3" fmla="*/ 441 h 819"/>
                  <a:gd name="T4" fmla="*/ 1385 w 2660"/>
                  <a:gd name="T5" fmla="*/ 450 h 819"/>
                  <a:gd name="T6" fmla="*/ 1369 w 2660"/>
                  <a:gd name="T7" fmla="*/ 456 h 819"/>
                  <a:gd name="T8" fmla="*/ 1342 w 2660"/>
                  <a:gd name="T9" fmla="*/ 466 h 819"/>
                  <a:gd name="T10" fmla="*/ 1325 w 2660"/>
                  <a:gd name="T11" fmla="*/ 472 h 819"/>
                  <a:gd name="T12" fmla="*/ 1303 w 2660"/>
                  <a:gd name="T13" fmla="*/ 479 h 819"/>
                  <a:gd name="T14" fmla="*/ 1282 w 2660"/>
                  <a:gd name="T15" fmla="*/ 486 h 819"/>
                  <a:gd name="T16" fmla="*/ 1251 w 2660"/>
                  <a:gd name="T17" fmla="*/ 495 h 819"/>
                  <a:gd name="T18" fmla="*/ 0 w 2660"/>
                  <a:gd name="T19" fmla="*/ 819 h 819"/>
                  <a:gd name="T20" fmla="*/ 21 w 2660"/>
                  <a:gd name="T21" fmla="*/ 819 h 819"/>
                  <a:gd name="T22" fmla="*/ 990 w 2660"/>
                  <a:gd name="T23" fmla="*/ 578 h 819"/>
                  <a:gd name="T24" fmla="*/ 52 w 2660"/>
                  <a:gd name="T25" fmla="*/ 819 h 819"/>
                  <a:gd name="T26" fmla="*/ 72 w 2660"/>
                  <a:gd name="T27" fmla="*/ 819 h 819"/>
                  <a:gd name="T28" fmla="*/ 1018 w 2660"/>
                  <a:gd name="T29" fmla="*/ 573 h 819"/>
                  <a:gd name="T30" fmla="*/ 105 w 2660"/>
                  <a:gd name="T31" fmla="*/ 819 h 819"/>
                  <a:gd name="T32" fmla="*/ 124 w 2660"/>
                  <a:gd name="T33" fmla="*/ 819 h 819"/>
                  <a:gd name="T34" fmla="*/ 1063 w 2660"/>
                  <a:gd name="T35" fmla="*/ 563 h 819"/>
                  <a:gd name="T36" fmla="*/ 158 w 2660"/>
                  <a:gd name="T37" fmla="*/ 819 h 819"/>
                  <a:gd name="T38" fmla="*/ 176 w 2660"/>
                  <a:gd name="T39" fmla="*/ 819 h 819"/>
                  <a:gd name="T40" fmla="*/ 1096 w 2660"/>
                  <a:gd name="T41" fmla="*/ 556 h 819"/>
                  <a:gd name="T42" fmla="*/ 211 w 2660"/>
                  <a:gd name="T43" fmla="*/ 819 h 819"/>
                  <a:gd name="T44" fmla="*/ 228 w 2660"/>
                  <a:gd name="T45" fmla="*/ 819 h 819"/>
                  <a:gd name="T46" fmla="*/ 1131 w 2660"/>
                  <a:gd name="T47" fmla="*/ 548 h 819"/>
                  <a:gd name="T48" fmla="*/ 264 w 2660"/>
                  <a:gd name="T49" fmla="*/ 819 h 819"/>
                  <a:gd name="T50" fmla="*/ 281 w 2660"/>
                  <a:gd name="T51" fmla="*/ 819 h 819"/>
                  <a:gd name="T52" fmla="*/ 1161 w 2660"/>
                  <a:gd name="T53" fmla="*/ 541 h 819"/>
                  <a:gd name="T54" fmla="*/ 318 w 2660"/>
                  <a:gd name="T55" fmla="*/ 819 h 819"/>
                  <a:gd name="T56" fmla="*/ 334 w 2660"/>
                  <a:gd name="T57" fmla="*/ 819 h 819"/>
                  <a:gd name="T58" fmla="*/ 1193 w 2660"/>
                  <a:gd name="T59" fmla="*/ 533 h 819"/>
                  <a:gd name="T60" fmla="*/ 372 w 2660"/>
                  <a:gd name="T61" fmla="*/ 819 h 819"/>
                  <a:gd name="T62" fmla="*/ 387 w 2660"/>
                  <a:gd name="T63" fmla="*/ 819 h 819"/>
                  <a:gd name="T64" fmla="*/ 1335 w 2660"/>
                  <a:gd name="T65" fmla="*/ 477 h 819"/>
                  <a:gd name="T66" fmla="*/ 1346 w 2660"/>
                  <a:gd name="T67" fmla="*/ 472 h 819"/>
                  <a:gd name="T68" fmla="*/ 2660 w 2660"/>
                  <a:gd name="T69" fmla="*/ 217 h 819"/>
                  <a:gd name="T70" fmla="*/ 2660 w 2660"/>
                  <a:gd name="T71" fmla="*/ 213 h 819"/>
                  <a:gd name="T72" fmla="*/ 1454 w 2660"/>
                  <a:gd name="T73" fmla="*/ 439 h 819"/>
                  <a:gd name="T74" fmla="*/ 2660 w 2660"/>
                  <a:gd name="T75" fmla="*/ 187 h 819"/>
                  <a:gd name="T76" fmla="*/ 2660 w 2660"/>
                  <a:gd name="T77" fmla="*/ 183 h 819"/>
                  <a:gd name="T78" fmla="*/ 1481 w 2660"/>
                  <a:gd name="T79" fmla="*/ 428 h 819"/>
                  <a:gd name="T80" fmla="*/ 2660 w 2660"/>
                  <a:gd name="T81" fmla="*/ 156 h 819"/>
                  <a:gd name="T82" fmla="*/ 2660 w 2660"/>
                  <a:gd name="T83" fmla="*/ 152 h 819"/>
                  <a:gd name="T84" fmla="*/ 1509 w 2660"/>
                  <a:gd name="T85" fmla="*/ 415 h 819"/>
                  <a:gd name="T86" fmla="*/ 2660 w 2660"/>
                  <a:gd name="T87" fmla="*/ 126 h 819"/>
                  <a:gd name="T88" fmla="*/ 2660 w 2660"/>
                  <a:gd name="T89" fmla="*/ 122 h 819"/>
                  <a:gd name="T90" fmla="*/ 1514 w 2660"/>
                  <a:gd name="T91" fmla="*/ 409 h 819"/>
                  <a:gd name="T92" fmla="*/ 2660 w 2660"/>
                  <a:gd name="T93" fmla="*/ 95 h 819"/>
                  <a:gd name="T94" fmla="*/ 2660 w 2660"/>
                  <a:gd name="T95" fmla="*/ 91 h 819"/>
                  <a:gd name="T96" fmla="*/ 1548 w 2660"/>
                  <a:gd name="T97" fmla="*/ 394 h 819"/>
                  <a:gd name="T98" fmla="*/ 2660 w 2660"/>
                  <a:gd name="T99" fmla="*/ 65 h 819"/>
                  <a:gd name="T100" fmla="*/ 2660 w 2660"/>
                  <a:gd name="T101" fmla="*/ 61 h 819"/>
                  <a:gd name="T102" fmla="*/ 1566 w 2660"/>
                  <a:gd name="T103" fmla="*/ 383 h 819"/>
                  <a:gd name="T104" fmla="*/ 2660 w 2660"/>
                  <a:gd name="T105" fmla="*/ 35 h 819"/>
                  <a:gd name="T106" fmla="*/ 2660 w 2660"/>
                  <a:gd name="T107" fmla="*/ 31 h 819"/>
                  <a:gd name="T108" fmla="*/ 1584 w 2660"/>
                  <a:gd name="T109" fmla="*/ 371 h 819"/>
                  <a:gd name="T110" fmla="*/ 2660 w 2660"/>
                  <a:gd name="T111" fmla="*/ 4 h 819"/>
                  <a:gd name="T112" fmla="*/ 2660 w 2660"/>
                  <a:gd name="T113"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0" h="819">
                    <a:moveTo>
                      <a:pt x="2660" y="0"/>
                    </a:moveTo>
                    <a:cubicBezTo>
                      <a:pt x="2424" y="40"/>
                      <a:pt x="1981" y="196"/>
                      <a:pt x="1409" y="441"/>
                    </a:cubicBezTo>
                    <a:cubicBezTo>
                      <a:pt x="1401" y="444"/>
                      <a:pt x="1393" y="447"/>
                      <a:pt x="1385" y="450"/>
                    </a:cubicBezTo>
                    <a:cubicBezTo>
                      <a:pt x="1380" y="452"/>
                      <a:pt x="1374" y="454"/>
                      <a:pt x="1369" y="456"/>
                    </a:cubicBezTo>
                    <a:cubicBezTo>
                      <a:pt x="1360" y="460"/>
                      <a:pt x="1350" y="463"/>
                      <a:pt x="1342" y="466"/>
                    </a:cubicBezTo>
                    <a:cubicBezTo>
                      <a:pt x="1336" y="468"/>
                      <a:pt x="1331" y="470"/>
                      <a:pt x="1325" y="472"/>
                    </a:cubicBezTo>
                    <a:cubicBezTo>
                      <a:pt x="1318" y="475"/>
                      <a:pt x="1310" y="477"/>
                      <a:pt x="1303" y="479"/>
                    </a:cubicBezTo>
                    <a:cubicBezTo>
                      <a:pt x="1296" y="482"/>
                      <a:pt x="1289" y="484"/>
                      <a:pt x="1282" y="486"/>
                    </a:cubicBezTo>
                    <a:cubicBezTo>
                      <a:pt x="1271" y="489"/>
                      <a:pt x="1261" y="492"/>
                      <a:pt x="1251" y="495"/>
                    </a:cubicBezTo>
                    <a:cubicBezTo>
                      <a:pt x="791" y="638"/>
                      <a:pt x="347" y="753"/>
                      <a:pt x="0" y="819"/>
                    </a:cubicBezTo>
                    <a:cubicBezTo>
                      <a:pt x="21" y="819"/>
                      <a:pt x="21" y="819"/>
                      <a:pt x="21" y="819"/>
                    </a:cubicBezTo>
                    <a:cubicBezTo>
                      <a:pt x="298" y="765"/>
                      <a:pt x="634" y="681"/>
                      <a:pt x="990" y="578"/>
                    </a:cubicBezTo>
                    <a:cubicBezTo>
                      <a:pt x="648" y="681"/>
                      <a:pt x="328" y="764"/>
                      <a:pt x="52" y="819"/>
                    </a:cubicBezTo>
                    <a:cubicBezTo>
                      <a:pt x="72" y="819"/>
                      <a:pt x="72" y="819"/>
                      <a:pt x="72" y="819"/>
                    </a:cubicBezTo>
                    <a:cubicBezTo>
                      <a:pt x="351" y="762"/>
                      <a:pt x="674" y="679"/>
                      <a:pt x="1018" y="573"/>
                    </a:cubicBezTo>
                    <a:cubicBezTo>
                      <a:pt x="689" y="678"/>
                      <a:pt x="377" y="762"/>
                      <a:pt x="105" y="819"/>
                    </a:cubicBezTo>
                    <a:cubicBezTo>
                      <a:pt x="124" y="819"/>
                      <a:pt x="124" y="819"/>
                      <a:pt x="124" y="819"/>
                    </a:cubicBezTo>
                    <a:cubicBezTo>
                      <a:pt x="404" y="760"/>
                      <a:pt x="724" y="672"/>
                      <a:pt x="1063" y="563"/>
                    </a:cubicBezTo>
                    <a:cubicBezTo>
                      <a:pt x="737" y="673"/>
                      <a:pt x="433" y="759"/>
                      <a:pt x="158" y="819"/>
                    </a:cubicBezTo>
                    <a:cubicBezTo>
                      <a:pt x="176" y="819"/>
                      <a:pt x="176" y="819"/>
                      <a:pt x="176" y="819"/>
                    </a:cubicBezTo>
                    <a:cubicBezTo>
                      <a:pt x="456" y="757"/>
                      <a:pt x="764" y="669"/>
                      <a:pt x="1096" y="556"/>
                    </a:cubicBezTo>
                    <a:cubicBezTo>
                      <a:pt x="776" y="670"/>
                      <a:pt x="484" y="756"/>
                      <a:pt x="211" y="819"/>
                    </a:cubicBezTo>
                    <a:cubicBezTo>
                      <a:pt x="228" y="819"/>
                      <a:pt x="228" y="819"/>
                      <a:pt x="228" y="819"/>
                    </a:cubicBezTo>
                    <a:cubicBezTo>
                      <a:pt x="507" y="754"/>
                      <a:pt x="804" y="665"/>
                      <a:pt x="1131" y="548"/>
                    </a:cubicBezTo>
                    <a:cubicBezTo>
                      <a:pt x="814" y="667"/>
                      <a:pt x="535" y="754"/>
                      <a:pt x="264" y="819"/>
                    </a:cubicBezTo>
                    <a:cubicBezTo>
                      <a:pt x="281" y="819"/>
                      <a:pt x="281" y="819"/>
                      <a:pt x="281" y="819"/>
                    </a:cubicBezTo>
                    <a:cubicBezTo>
                      <a:pt x="556" y="752"/>
                      <a:pt x="839" y="663"/>
                      <a:pt x="1161" y="541"/>
                    </a:cubicBezTo>
                    <a:cubicBezTo>
                      <a:pt x="848" y="665"/>
                      <a:pt x="583" y="752"/>
                      <a:pt x="318" y="819"/>
                    </a:cubicBezTo>
                    <a:cubicBezTo>
                      <a:pt x="334" y="819"/>
                      <a:pt x="334" y="819"/>
                      <a:pt x="334" y="819"/>
                    </a:cubicBezTo>
                    <a:cubicBezTo>
                      <a:pt x="603" y="750"/>
                      <a:pt x="873" y="660"/>
                      <a:pt x="1193" y="533"/>
                    </a:cubicBezTo>
                    <a:cubicBezTo>
                      <a:pt x="881" y="663"/>
                      <a:pt x="629" y="750"/>
                      <a:pt x="372" y="819"/>
                    </a:cubicBezTo>
                    <a:cubicBezTo>
                      <a:pt x="387" y="819"/>
                      <a:pt x="387" y="819"/>
                      <a:pt x="387" y="819"/>
                    </a:cubicBezTo>
                    <a:cubicBezTo>
                      <a:pt x="677" y="741"/>
                      <a:pt x="961" y="638"/>
                      <a:pt x="1335" y="477"/>
                    </a:cubicBezTo>
                    <a:cubicBezTo>
                      <a:pt x="1339" y="475"/>
                      <a:pt x="1342" y="474"/>
                      <a:pt x="1346" y="472"/>
                    </a:cubicBezTo>
                    <a:cubicBezTo>
                      <a:pt x="1637" y="392"/>
                      <a:pt x="2266" y="249"/>
                      <a:pt x="2660" y="217"/>
                    </a:cubicBezTo>
                    <a:cubicBezTo>
                      <a:pt x="2660" y="213"/>
                      <a:pt x="2660" y="213"/>
                      <a:pt x="2660" y="213"/>
                    </a:cubicBezTo>
                    <a:cubicBezTo>
                      <a:pt x="2310" y="241"/>
                      <a:pt x="1773" y="358"/>
                      <a:pt x="1454" y="439"/>
                    </a:cubicBezTo>
                    <a:cubicBezTo>
                      <a:pt x="1770" y="351"/>
                      <a:pt x="2312" y="219"/>
                      <a:pt x="2660" y="187"/>
                    </a:cubicBezTo>
                    <a:cubicBezTo>
                      <a:pt x="2660" y="183"/>
                      <a:pt x="2660" y="183"/>
                      <a:pt x="2660" y="183"/>
                    </a:cubicBezTo>
                    <a:cubicBezTo>
                      <a:pt x="2322" y="214"/>
                      <a:pt x="1801" y="339"/>
                      <a:pt x="1481" y="428"/>
                    </a:cubicBezTo>
                    <a:cubicBezTo>
                      <a:pt x="1796" y="333"/>
                      <a:pt x="2323" y="191"/>
                      <a:pt x="2660" y="156"/>
                    </a:cubicBezTo>
                    <a:cubicBezTo>
                      <a:pt x="2660" y="152"/>
                      <a:pt x="2660" y="152"/>
                      <a:pt x="2660" y="152"/>
                    </a:cubicBezTo>
                    <a:cubicBezTo>
                      <a:pt x="2333" y="186"/>
                      <a:pt x="1826" y="321"/>
                      <a:pt x="1509" y="415"/>
                    </a:cubicBezTo>
                    <a:cubicBezTo>
                      <a:pt x="1817" y="316"/>
                      <a:pt x="2333" y="163"/>
                      <a:pt x="2660" y="126"/>
                    </a:cubicBezTo>
                    <a:cubicBezTo>
                      <a:pt x="2660" y="122"/>
                      <a:pt x="2660" y="122"/>
                      <a:pt x="2660" y="122"/>
                    </a:cubicBezTo>
                    <a:cubicBezTo>
                      <a:pt x="2335" y="159"/>
                      <a:pt x="1823" y="310"/>
                      <a:pt x="1514" y="409"/>
                    </a:cubicBezTo>
                    <a:cubicBezTo>
                      <a:pt x="1834" y="299"/>
                      <a:pt x="2350" y="135"/>
                      <a:pt x="2660" y="95"/>
                    </a:cubicBezTo>
                    <a:cubicBezTo>
                      <a:pt x="2660" y="91"/>
                      <a:pt x="2660" y="91"/>
                      <a:pt x="2660" y="91"/>
                    </a:cubicBezTo>
                    <a:cubicBezTo>
                      <a:pt x="2361" y="129"/>
                      <a:pt x="1869" y="283"/>
                      <a:pt x="1548" y="394"/>
                    </a:cubicBezTo>
                    <a:cubicBezTo>
                      <a:pt x="1845" y="284"/>
                      <a:pt x="2354" y="108"/>
                      <a:pt x="2660" y="65"/>
                    </a:cubicBezTo>
                    <a:cubicBezTo>
                      <a:pt x="2660" y="61"/>
                      <a:pt x="2660" y="61"/>
                      <a:pt x="2660" y="61"/>
                    </a:cubicBezTo>
                    <a:cubicBezTo>
                      <a:pt x="2360" y="103"/>
                      <a:pt x="1866" y="273"/>
                      <a:pt x="1566" y="383"/>
                    </a:cubicBezTo>
                    <a:cubicBezTo>
                      <a:pt x="1874" y="262"/>
                      <a:pt x="2372" y="79"/>
                      <a:pt x="2660" y="35"/>
                    </a:cubicBezTo>
                    <a:cubicBezTo>
                      <a:pt x="2660" y="31"/>
                      <a:pt x="2660" y="31"/>
                      <a:pt x="2660" y="31"/>
                    </a:cubicBezTo>
                    <a:cubicBezTo>
                      <a:pt x="2378" y="74"/>
                      <a:pt x="1893" y="251"/>
                      <a:pt x="1584" y="371"/>
                    </a:cubicBezTo>
                    <a:cubicBezTo>
                      <a:pt x="2071" y="169"/>
                      <a:pt x="2448" y="40"/>
                      <a:pt x="2660" y="4"/>
                    </a:cubicBezTo>
                    <a:lnTo>
                      <a:pt x="266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a:p>
            </p:txBody>
          </p:sp>
        </p:grpSp>
        <p:grpSp>
          <p:nvGrpSpPr>
            <p:cNvPr id="11" name="Gruppieren 10"/>
            <p:cNvGrpSpPr/>
            <p:nvPr userDrawn="1"/>
          </p:nvGrpSpPr>
          <p:grpSpPr>
            <a:xfrm>
              <a:off x="158750" y="2279650"/>
              <a:ext cx="8616950" cy="2232025"/>
              <a:chOff x="158750" y="2279650"/>
              <a:chExt cx="8616950" cy="2232025"/>
            </a:xfrm>
            <a:solidFill>
              <a:schemeClr val="accent3"/>
            </a:solidFill>
          </p:grpSpPr>
          <p:sp>
            <p:nvSpPr>
              <p:cNvPr id="12" name="Freeform 16"/>
              <p:cNvSpPr>
                <a:spLocks/>
              </p:cNvSpPr>
              <p:nvPr userDrawn="1"/>
            </p:nvSpPr>
            <p:spPr bwMode="auto">
              <a:xfrm>
                <a:off x="158750" y="2279650"/>
                <a:ext cx="8616950" cy="2232025"/>
              </a:xfrm>
              <a:custGeom>
                <a:avLst/>
                <a:gdLst>
                  <a:gd name="T0" fmla="*/ 2298 w 2298"/>
                  <a:gd name="T1" fmla="*/ 0 h 595"/>
                  <a:gd name="T2" fmla="*/ 1148 w 2298"/>
                  <a:gd name="T3" fmla="*/ 241 h 595"/>
                  <a:gd name="T4" fmla="*/ 1018 w 2298"/>
                  <a:gd name="T5" fmla="*/ 291 h 595"/>
                  <a:gd name="T6" fmla="*/ 0 w 2298"/>
                  <a:gd name="T7" fmla="*/ 595 h 595"/>
                  <a:gd name="T8" fmla="*/ 23 w 2298"/>
                  <a:gd name="T9" fmla="*/ 595 h 595"/>
                  <a:gd name="T10" fmla="*/ 1020 w 2298"/>
                  <a:gd name="T11" fmla="*/ 295 h 595"/>
                  <a:gd name="T12" fmla="*/ 1150 w 2298"/>
                  <a:gd name="T13" fmla="*/ 245 h 595"/>
                  <a:gd name="T14" fmla="*/ 2298 w 2298"/>
                  <a:gd name="T15" fmla="*/ 4 h 595"/>
                  <a:gd name="T16" fmla="*/ 2298 w 2298"/>
                  <a:gd name="T17"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8" h="595">
                    <a:moveTo>
                      <a:pt x="2298" y="0"/>
                    </a:moveTo>
                    <a:cubicBezTo>
                      <a:pt x="1892" y="40"/>
                      <a:pt x="1366" y="159"/>
                      <a:pt x="1148" y="241"/>
                    </a:cubicBezTo>
                    <a:cubicBezTo>
                      <a:pt x="1104" y="258"/>
                      <a:pt x="1061" y="275"/>
                      <a:pt x="1018" y="291"/>
                    </a:cubicBezTo>
                    <a:cubicBezTo>
                      <a:pt x="693" y="415"/>
                      <a:pt x="408" y="523"/>
                      <a:pt x="0" y="595"/>
                    </a:cubicBezTo>
                    <a:cubicBezTo>
                      <a:pt x="23" y="595"/>
                      <a:pt x="23" y="595"/>
                      <a:pt x="23" y="595"/>
                    </a:cubicBezTo>
                    <a:cubicBezTo>
                      <a:pt x="419" y="523"/>
                      <a:pt x="700" y="416"/>
                      <a:pt x="1020" y="295"/>
                    </a:cubicBezTo>
                    <a:cubicBezTo>
                      <a:pt x="1062" y="278"/>
                      <a:pt x="1105" y="262"/>
                      <a:pt x="1150" y="245"/>
                    </a:cubicBezTo>
                    <a:cubicBezTo>
                      <a:pt x="1342" y="173"/>
                      <a:pt x="1871" y="46"/>
                      <a:pt x="2298" y="4"/>
                    </a:cubicBezTo>
                    <a:lnTo>
                      <a:pt x="22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 name="Freeform 17"/>
              <p:cNvSpPr>
                <a:spLocks/>
              </p:cNvSpPr>
              <p:nvPr userDrawn="1"/>
            </p:nvSpPr>
            <p:spPr bwMode="auto">
              <a:xfrm>
                <a:off x="260350" y="2455863"/>
                <a:ext cx="8515350" cy="2055812"/>
              </a:xfrm>
              <a:custGeom>
                <a:avLst/>
                <a:gdLst>
                  <a:gd name="T0" fmla="*/ 2271 w 2271"/>
                  <a:gd name="T1" fmla="*/ 0 h 548"/>
                  <a:gd name="T2" fmla="*/ 1129 w 2271"/>
                  <a:gd name="T3" fmla="*/ 207 h 548"/>
                  <a:gd name="T4" fmla="*/ 1009 w 2271"/>
                  <a:gd name="T5" fmla="*/ 252 h 548"/>
                  <a:gd name="T6" fmla="*/ 0 w 2271"/>
                  <a:gd name="T7" fmla="*/ 548 h 548"/>
                  <a:gd name="T8" fmla="*/ 0 w 2271"/>
                  <a:gd name="T9" fmla="*/ 548 h 548"/>
                  <a:gd name="T10" fmla="*/ 22 w 2271"/>
                  <a:gd name="T11" fmla="*/ 548 h 548"/>
                  <a:gd name="T12" fmla="*/ 1011 w 2271"/>
                  <a:gd name="T13" fmla="*/ 256 h 548"/>
                  <a:gd name="T14" fmla="*/ 1130 w 2271"/>
                  <a:gd name="T15" fmla="*/ 211 h 548"/>
                  <a:gd name="T16" fmla="*/ 2271 w 2271"/>
                  <a:gd name="T17" fmla="*/ 4 h 548"/>
                  <a:gd name="T18" fmla="*/ 2271 w 2271"/>
                  <a:gd name="T1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1" h="548">
                    <a:moveTo>
                      <a:pt x="2271" y="0"/>
                    </a:moveTo>
                    <a:cubicBezTo>
                      <a:pt x="1869" y="21"/>
                      <a:pt x="1346" y="126"/>
                      <a:pt x="1129" y="207"/>
                    </a:cubicBezTo>
                    <a:cubicBezTo>
                      <a:pt x="1088" y="222"/>
                      <a:pt x="1048" y="237"/>
                      <a:pt x="1009" y="252"/>
                    </a:cubicBezTo>
                    <a:cubicBezTo>
                      <a:pt x="676" y="378"/>
                      <a:pt x="413" y="477"/>
                      <a:pt x="0" y="548"/>
                    </a:cubicBezTo>
                    <a:cubicBezTo>
                      <a:pt x="0" y="548"/>
                      <a:pt x="0" y="548"/>
                      <a:pt x="0" y="548"/>
                    </a:cubicBezTo>
                    <a:cubicBezTo>
                      <a:pt x="22" y="548"/>
                      <a:pt x="22" y="548"/>
                      <a:pt x="22" y="548"/>
                    </a:cubicBezTo>
                    <a:cubicBezTo>
                      <a:pt x="423" y="477"/>
                      <a:pt x="683" y="379"/>
                      <a:pt x="1011" y="256"/>
                    </a:cubicBezTo>
                    <a:cubicBezTo>
                      <a:pt x="1049" y="241"/>
                      <a:pt x="1089" y="226"/>
                      <a:pt x="1130" y="211"/>
                    </a:cubicBezTo>
                    <a:cubicBezTo>
                      <a:pt x="1348" y="130"/>
                      <a:pt x="1869" y="25"/>
                      <a:pt x="2271" y="4"/>
                    </a:cubicBezTo>
                    <a:lnTo>
                      <a:pt x="2271"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4" name="Freeform 18"/>
              <p:cNvSpPr>
                <a:spLocks/>
              </p:cNvSpPr>
              <p:nvPr userDrawn="1"/>
            </p:nvSpPr>
            <p:spPr bwMode="auto">
              <a:xfrm>
                <a:off x="360362" y="2628900"/>
                <a:ext cx="8415338" cy="1882775"/>
              </a:xfrm>
              <a:custGeom>
                <a:avLst/>
                <a:gdLst>
                  <a:gd name="T0" fmla="*/ 2244 w 2244"/>
                  <a:gd name="T1" fmla="*/ 0 h 502"/>
                  <a:gd name="T2" fmla="*/ 1109 w 2244"/>
                  <a:gd name="T3" fmla="*/ 173 h 502"/>
                  <a:gd name="T4" fmla="*/ 1000 w 2244"/>
                  <a:gd name="T5" fmla="*/ 214 h 502"/>
                  <a:gd name="T6" fmla="*/ 0 w 2244"/>
                  <a:gd name="T7" fmla="*/ 502 h 502"/>
                  <a:gd name="T8" fmla="*/ 24 w 2244"/>
                  <a:gd name="T9" fmla="*/ 502 h 502"/>
                  <a:gd name="T10" fmla="*/ 1002 w 2244"/>
                  <a:gd name="T11" fmla="*/ 218 h 502"/>
                  <a:gd name="T12" fmla="*/ 1110 w 2244"/>
                  <a:gd name="T13" fmla="*/ 177 h 502"/>
                  <a:gd name="T14" fmla="*/ 2244 w 2244"/>
                  <a:gd name="T15" fmla="*/ 4 h 502"/>
                  <a:gd name="T16" fmla="*/ 2244 w 2244"/>
                  <a:gd name="T17"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4" h="502">
                    <a:moveTo>
                      <a:pt x="2244" y="0"/>
                    </a:moveTo>
                    <a:cubicBezTo>
                      <a:pt x="1842" y="1"/>
                      <a:pt x="1333" y="91"/>
                      <a:pt x="1109" y="173"/>
                    </a:cubicBezTo>
                    <a:cubicBezTo>
                      <a:pt x="1072" y="187"/>
                      <a:pt x="1035" y="201"/>
                      <a:pt x="1000" y="214"/>
                    </a:cubicBezTo>
                    <a:cubicBezTo>
                      <a:pt x="675" y="336"/>
                      <a:pt x="418" y="432"/>
                      <a:pt x="0" y="502"/>
                    </a:cubicBezTo>
                    <a:cubicBezTo>
                      <a:pt x="24" y="502"/>
                      <a:pt x="24" y="502"/>
                      <a:pt x="24" y="502"/>
                    </a:cubicBezTo>
                    <a:cubicBezTo>
                      <a:pt x="428" y="432"/>
                      <a:pt x="682" y="337"/>
                      <a:pt x="1002" y="218"/>
                    </a:cubicBezTo>
                    <a:cubicBezTo>
                      <a:pt x="1037" y="204"/>
                      <a:pt x="1073" y="191"/>
                      <a:pt x="1110" y="177"/>
                    </a:cubicBezTo>
                    <a:cubicBezTo>
                      <a:pt x="1334" y="95"/>
                      <a:pt x="1842" y="5"/>
                      <a:pt x="2244" y="4"/>
                    </a:cubicBezTo>
                    <a:lnTo>
                      <a:pt x="2244"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5" name="Freeform 19"/>
              <p:cNvSpPr>
                <a:spLocks/>
              </p:cNvSpPr>
              <p:nvPr userDrawn="1"/>
            </p:nvSpPr>
            <p:spPr bwMode="auto">
              <a:xfrm>
                <a:off x="481012" y="2736850"/>
                <a:ext cx="8294688" cy="1774825"/>
              </a:xfrm>
              <a:custGeom>
                <a:avLst/>
                <a:gdLst>
                  <a:gd name="T0" fmla="*/ 2212 w 2212"/>
                  <a:gd name="T1" fmla="*/ 16 h 473"/>
                  <a:gd name="T2" fmla="*/ 1084 w 2212"/>
                  <a:gd name="T3" fmla="*/ 157 h 473"/>
                  <a:gd name="T4" fmla="*/ 986 w 2212"/>
                  <a:gd name="T5" fmla="*/ 193 h 473"/>
                  <a:gd name="T6" fmla="*/ 0 w 2212"/>
                  <a:gd name="T7" fmla="*/ 472 h 473"/>
                  <a:gd name="T8" fmla="*/ 0 w 2212"/>
                  <a:gd name="T9" fmla="*/ 473 h 473"/>
                  <a:gd name="T10" fmla="*/ 20 w 2212"/>
                  <a:gd name="T11" fmla="*/ 473 h 473"/>
                  <a:gd name="T12" fmla="*/ 988 w 2212"/>
                  <a:gd name="T13" fmla="*/ 197 h 473"/>
                  <a:gd name="T14" fmla="*/ 1085 w 2212"/>
                  <a:gd name="T15" fmla="*/ 161 h 473"/>
                  <a:gd name="T16" fmla="*/ 2212 w 2212"/>
                  <a:gd name="T17" fmla="*/ 20 h 473"/>
                  <a:gd name="T18" fmla="*/ 2212 w 2212"/>
                  <a:gd name="T19" fmla="*/ 1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2" h="473">
                    <a:moveTo>
                      <a:pt x="2212" y="16"/>
                    </a:moveTo>
                    <a:cubicBezTo>
                      <a:pt x="1854" y="0"/>
                      <a:pt x="1338" y="64"/>
                      <a:pt x="1084" y="157"/>
                    </a:cubicBezTo>
                    <a:cubicBezTo>
                      <a:pt x="1050" y="169"/>
                      <a:pt x="1018" y="181"/>
                      <a:pt x="986" y="193"/>
                    </a:cubicBezTo>
                    <a:cubicBezTo>
                      <a:pt x="669" y="310"/>
                      <a:pt x="419" y="403"/>
                      <a:pt x="0" y="472"/>
                    </a:cubicBezTo>
                    <a:cubicBezTo>
                      <a:pt x="0" y="473"/>
                      <a:pt x="0" y="473"/>
                      <a:pt x="0" y="473"/>
                    </a:cubicBezTo>
                    <a:cubicBezTo>
                      <a:pt x="20" y="473"/>
                      <a:pt x="20" y="473"/>
                      <a:pt x="20" y="473"/>
                    </a:cubicBezTo>
                    <a:cubicBezTo>
                      <a:pt x="428" y="404"/>
                      <a:pt x="676" y="312"/>
                      <a:pt x="988" y="197"/>
                    </a:cubicBezTo>
                    <a:cubicBezTo>
                      <a:pt x="1019" y="185"/>
                      <a:pt x="1052" y="173"/>
                      <a:pt x="1085" y="161"/>
                    </a:cubicBezTo>
                    <a:cubicBezTo>
                      <a:pt x="1339" y="68"/>
                      <a:pt x="1855" y="4"/>
                      <a:pt x="2212" y="20"/>
                    </a:cubicBezTo>
                    <a:lnTo>
                      <a:pt x="2212"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6" name="Freeform 20"/>
              <p:cNvSpPr>
                <a:spLocks/>
              </p:cNvSpPr>
              <p:nvPr userDrawn="1"/>
            </p:nvSpPr>
            <p:spPr bwMode="auto">
              <a:xfrm>
                <a:off x="577850" y="2830513"/>
                <a:ext cx="8197850" cy="1681162"/>
              </a:xfrm>
              <a:custGeom>
                <a:avLst/>
                <a:gdLst>
                  <a:gd name="T0" fmla="*/ 2186 w 2186"/>
                  <a:gd name="T1" fmla="*/ 36 h 448"/>
                  <a:gd name="T2" fmla="*/ 1065 w 2186"/>
                  <a:gd name="T3" fmla="*/ 145 h 448"/>
                  <a:gd name="T4" fmla="*/ 978 w 2186"/>
                  <a:gd name="T5" fmla="*/ 176 h 448"/>
                  <a:gd name="T6" fmla="*/ 0 w 2186"/>
                  <a:gd name="T7" fmla="*/ 448 h 448"/>
                  <a:gd name="T8" fmla="*/ 24 w 2186"/>
                  <a:gd name="T9" fmla="*/ 448 h 448"/>
                  <a:gd name="T10" fmla="*/ 980 w 2186"/>
                  <a:gd name="T11" fmla="*/ 180 h 448"/>
                  <a:gd name="T12" fmla="*/ 1066 w 2186"/>
                  <a:gd name="T13" fmla="*/ 148 h 448"/>
                  <a:gd name="T14" fmla="*/ 2186 w 2186"/>
                  <a:gd name="T15" fmla="*/ 40 h 448"/>
                  <a:gd name="T16" fmla="*/ 2186 w 2186"/>
                  <a:gd name="T17" fmla="*/ 3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6" h="448">
                    <a:moveTo>
                      <a:pt x="2186" y="36"/>
                    </a:moveTo>
                    <a:cubicBezTo>
                      <a:pt x="1830" y="0"/>
                      <a:pt x="1328" y="49"/>
                      <a:pt x="1065" y="145"/>
                    </a:cubicBezTo>
                    <a:cubicBezTo>
                      <a:pt x="1035" y="155"/>
                      <a:pt x="1006" y="166"/>
                      <a:pt x="978" y="176"/>
                    </a:cubicBezTo>
                    <a:cubicBezTo>
                      <a:pt x="657" y="294"/>
                      <a:pt x="424" y="380"/>
                      <a:pt x="0" y="448"/>
                    </a:cubicBezTo>
                    <a:cubicBezTo>
                      <a:pt x="24" y="448"/>
                      <a:pt x="24" y="448"/>
                      <a:pt x="24" y="448"/>
                    </a:cubicBezTo>
                    <a:cubicBezTo>
                      <a:pt x="434" y="380"/>
                      <a:pt x="664" y="296"/>
                      <a:pt x="980" y="180"/>
                    </a:cubicBezTo>
                    <a:cubicBezTo>
                      <a:pt x="1008" y="170"/>
                      <a:pt x="1037" y="159"/>
                      <a:pt x="1066" y="148"/>
                    </a:cubicBezTo>
                    <a:cubicBezTo>
                      <a:pt x="1329" y="53"/>
                      <a:pt x="1831" y="4"/>
                      <a:pt x="2186" y="40"/>
                    </a:cubicBezTo>
                    <a:lnTo>
                      <a:pt x="218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7" name="Freeform 21"/>
              <p:cNvSpPr>
                <a:spLocks/>
              </p:cNvSpPr>
              <p:nvPr userDrawn="1"/>
            </p:nvSpPr>
            <p:spPr bwMode="auto">
              <a:xfrm>
                <a:off x="690562" y="2940050"/>
                <a:ext cx="8085138" cy="1571625"/>
              </a:xfrm>
              <a:custGeom>
                <a:avLst/>
                <a:gdLst>
                  <a:gd name="T0" fmla="*/ 2156 w 2156"/>
                  <a:gd name="T1" fmla="*/ 51 h 419"/>
                  <a:gd name="T2" fmla="*/ 1568 w 2156"/>
                  <a:gd name="T3" fmla="*/ 33 h 419"/>
                  <a:gd name="T4" fmla="*/ 1042 w 2156"/>
                  <a:gd name="T5" fmla="*/ 128 h 419"/>
                  <a:gd name="T6" fmla="*/ 967 w 2156"/>
                  <a:gd name="T7" fmla="*/ 155 h 419"/>
                  <a:gd name="T8" fmla="*/ 0 w 2156"/>
                  <a:gd name="T9" fmla="*/ 419 h 419"/>
                  <a:gd name="T10" fmla="*/ 26 w 2156"/>
                  <a:gd name="T11" fmla="*/ 419 h 419"/>
                  <a:gd name="T12" fmla="*/ 968 w 2156"/>
                  <a:gd name="T13" fmla="*/ 159 h 419"/>
                  <a:gd name="T14" fmla="*/ 1043 w 2156"/>
                  <a:gd name="T15" fmla="*/ 132 h 419"/>
                  <a:gd name="T16" fmla="*/ 2156 w 2156"/>
                  <a:gd name="T17" fmla="*/ 55 h 419"/>
                  <a:gd name="T18" fmla="*/ 2156 w 2156"/>
                  <a:gd name="T19" fmla="*/ 5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6" h="419">
                    <a:moveTo>
                      <a:pt x="2156" y="51"/>
                    </a:moveTo>
                    <a:cubicBezTo>
                      <a:pt x="1986" y="24"/>
                      <a:pt x="1777" y="18"/>
                      <a:pt x="1568" y="33"/>
                    </a:cubicBezTo>
                    <a:cubicBezTo>
                      <a:pt x="1359" y="47"/>
                      <a:pt x="1172" y="81"/>
                      <a:pt x="1042" y="128"/>
                    </a:cubicBezTo>
                    <a:cubicBezTo>
                      <a:pt x="1016" y="137"/>
                      <a:pt x="991" y="147"/>
                      <a:pt x="967" y="155"/>
                    </a:cubicBezTo>
                    <a:cubicBezTo>
                      <a:pt x="641" y="274"/>
                      <a:pt x="426" y="352"/>
                      <a:pt x="0" y="419"/>
                    </a:cubicBezTo>
                    <a:cubicBezTo>
                      <a:pt x="26" y="419"/>
                      <a:pt x="26" y="419"/>
                      <a:pt x="26" y="419"/>
                    </a:cubicBezTo>
                    <a:cubicBezTo>
                      <a:pt x="435" y="353"/>
                      <a:pt x="649" y="275"/>
                      <a:pt x="968" y="159"/>
                    </a:cubicBezTo>
                    <a:cubicBezTo>
                      <a:pt x="993" y="150"/>
                      <a:pt x="1018" y="141"/>
                      <a:pt x="1043" y="132"/>
                    </a:cubicBezTo>
                    <a:cubicBezTo>
                      <a:pt x="1315" y="34"/>
                      <a:pt x="1804" y="0"/>
                      <a:pt x="2156" y="55"/>
                    </a:cubicBezTo>
                    <a:lnTo>
                      <a:pt x="2156" y="5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8" name="Freeform 22"/>
              <p:cNvSpPr>
                <a:spLocks/>
              </p:cNvSpPr>
              <p:nvPr userDrawn="1"/>
            </p:nvSpPr>
            <p:spPr bwMode="auto">
              <a:xfrm>
                <a:off x="811212" y="3017838"/>
                <a:ext cx="7964488" cy="1493837"/>
              </a:xfrm>
              <a:custGeom>
                <a:avLst/>
                <a:gdLst>
                  <a:gd name="T0" fmla="*/ 2124 w 2124"/>
                  <a:gd name="T1" fmla="*/ 73 h 398"/>
                  <a:gd name="T2" fmla="*/ 1017 w 2124"/>
                  <a:gd name="T3" fmla="*/ 120 h 398"/>
                  <a:gd name="T4" fmla="*/ 953 w 2124"/>
                  <a:gd name="T5" fmla="*/ 143 h 398"/>
                  <a:gd name="T6" fmla="*/ 0 w 2124"/>
                  <a:gd name="T7" fmla="*/ 398 h 398"/>
                  <a:gd name="T8" fmla="*/ 26 w 2124"/>
                  <a:gd name="T9" fmla="*/ 398 h 398"/>
                  <a:gd name="T10" fmla="*/ 955 w 2124"/>
                  <a:gd name="T11" fmla="*/ 146 h 398"/>
                  <a:gd name="T12" fmla="*/ 1019 w 2124"/>
                  <a:gd name="T13" fmla="*/ 123 h 398"/>
                  <a:gd name="T14" fmla="*/ 2124 w 2124"/>
                  <a:gd name="T15" fmla="*/ 77 h 398"/>
                  <a:gd name="T16" fmla="*/ 2124 w 2124"/>
                  <a:gd name="T17" fmla="*/ 7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4" h="398">
                    <a:moveTo>
                      <a:pt x="2124" y="73"/>
                    </a:moveTo>
                    <a:cubicBezTo>
                      <a:pt x="1780" y="0"/>
                      <a:pt x="1295" y="20"/>
                      <a:pt x="1017" y="120"/>
                    </a:cubicBezTo>
                    <a:cubicBezTo>
                      <a:pt x="995" y="127"/>
                      <a:pt x="974" y="135"/>
                      <a:pt x="953" y="143"/>
                    </a:cubicBezTo>
                    <a:cubicBezTo>
                      <a:pt x="636" y="257"/>
                      <a:pt x="426" y="333"/>
                      <a:pt x="0" y="398"/>
                    </a:cubicBezTo>
                    <a:cubicBezTo>
                      <a:pt x="26" y="398"/>
                      <a:pt x="26" y="398"/>
                      <a:pt x="26" y="398"/>
                    </a:cubicBezTo>
                    <a:cubicBezTo>
                      <a:pt x="435" y="334"/>
                      <a:pt x="643" y="259"/>
                      <a:pt x="955" y="146"/>
                    </a:cubicBezTo>
                    <a:cubicBezTo>
                      <a:pt x="975" y="139"/>
                      <a:pt x="997" y="131"/>
                      <a:pt x="1019" y="123"/>
                    </a:cubicBezTo>
                    <a:cubicBezTo>
                      <a:pt x="1296" y="24"/>
                      <a:pt x="1781" y="4"/>
                      <a:pt x="2124" y="77"/>
                    </a:cubicBezTo>
                    <a:lnTo>
                      <a:pt x="2124" y="7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9" name="Freeform 23"/>
              <p:cNvSpPr>
                <a:spLocks/>
              </p:cNvSpPr>
              <p:nvPr userDrawn="1"/>
            </p:nvSpPr>
            <p:spPr bwMode="auto">
              <a:xfrm>
                <a:off x="935037" y="3124200"/>
                <a:ext cx="7840663" cy="1387475"/>
              </a:xfrm>
              <a:custGeom>
                <a:avLst/>
                <a:gdLst>
                  <a:gd name="T0" fmla="*/ 2091 w 2091"/>
                  <a:gd name="T1" fmla="*/ 87 h 370"/>
                  <a:gd name="T2" fmla="*/ 1528 w 2091"/>
                  <a:gd name="T3" fmla="*/ 23 h 370"/>
                  <a:gd name="T4" fmla="*/ 991 w 2091"/>
                  <a:gd name="T5" fmla="*/ 104 h 370"/>
                  <a:gd name="T6" fmla="*/ 939 w 2091"/>
                  <a:gd name="T7" fmla="*/ 123 h 370"/>
                  <a:gd name="T8" fmla="*/ 0 w 2091"/>
                  <a:gd name="T9" fmla="*/ 370 h 370"/>
                  <a:gd name="T10" fmla="*/ 27 w 2091"/>
                  <a:gd name="T11" fmla="*/ 370 h 370"/>
                  <a:gd name="T12" fmla="*/ 940 w 2091"/>
                  <a:gd name="T13" fmla="*/ 127 h 370"/>
                  <a:gd name="T14" fmla="*/ 993 w 2091"/>
                  <a:gd name="T15" fmla="*/ 108 h 370"/>
                  <a:gd name="T16" fmla="*/ 2091 w 2091"/>
                  <a:gd name="T17" fmla="*/ 91 h 370"/>
                  <a:gd name="T18" fmla="*/ 2091 w 2091"/>
                  <a:gd name="T19" fmla="*/ 8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1" h="370">
                    <a:moveTo>
                      <a:pt x="2091" y="87"/>
                    </a:moveTo>
                    <a:cubicBezTo>
                      <a:pt x="1930" y="43"/>
                      <a:pt x="1730" y="20"/>
                      <a:pt x="1528" y="23"/>
                    </a:cubicBezTo>
                    <a:cubicBezTo>
                      <a:pt x="1322" y="25"/>
                      <a:pt x="1131" y="54"/>
                      <a:pt x="991" y="104"/>
                    </a:cubicBezTo>
                    <a:cubicBezTo>
                      <a:pt x="939" y="123"/>
                      <a:pt x="939" y="123"/>
                      <a:pt x="939" y="123"/>
                    </a:cubicBezTo>
                    <a:cubicBezTo>
                      <a:pt x="618" y="237"/>
                      <a:pt x="424" y="306"/>
                      <a:pt x="0" y="370"/>
                    </a:cubicBezTo>
                    <a:cubicBezTo>
                      <a:pt x="27" y="370"/>
                      <a:pt x="27" y="370"/>
                      <a:pt x="27" y="370"/>
                    </a:cubicBezTo>
                    <a:cubicBezTo>
                      <a:pt x="433" y="307"/>
                      <a:pt x="626" y="239"/>
                      <a:pt x="940" y="127"/>
                    </a:cubicBezTo>
                    <a:cubicBezTo>
                      <a:pt x="993" y="108"/>
                      <a:pt x="993" y="108"/>
                      <a:pt x="993" y="108"/>
                    </a:cubicBezTo>
                    <a:cubicBezTo>
                      <a:pt x="1276" y="7"/>
                      <a:pt x="1757" y="0"/>
                      <a:pt x="2091" y="91"/>
                    </a:cubicBezTo>
                    <a:lnTo>
                      <a:pt x="2091" y="8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grpSp>
      </p:grpSp>
      <p:sp>
        <p:nvSpPr>
          <p:cNvPr id="2" name="Title 1"/>
          <p:cNvSpPr>
            <a:spLocks noGrp="1"/>
          </p:cNvSpPr>
          <p:nvPr userDrawn="1">
            <p:ph type="ctrTitle" hasCustomPrompt="1"/>
          </p:nvPr>
        </p:nvSpPr>
        <p:spPr>
          <a:xfrm>
            <a:off x="723900" y="531689"/>
            <a:ext cx="6546268" cy="1354262"/>
          </a:xfrm>
          <a:prstGeom prst="rect">
            <a:avLst/>
          </a:prstGeom>
        </p:spPr>
        <p:txBody>
          <a:bodyPr lIns="0" tIns="22677" rIns="0" bIns="22677" anchor="b">
            <a:normAutofit/>
          </a:bodyPr>
          <a:lstStyle>
            <a:lvl1pPr algn="l">
              <a:defRPr sz="2800">
                <a:solidFill>
                  <a:srgbClr val="4D4D4D"/>
                </a:solidFill>
                <a:latin typeface="+mj-lt"/>
                <a:cs typeface="Calibri" panose="020B0604020202020204" pitchFamily="34" charset="0"/>
              </a:defRPr>
            </a:lvl1pPr>
          </a:lstStyle>
          <a:p>
            <a:r>
              <a:rPr lang="en-US" noProof="0"/>
              <a:t>Click to edit Master title style</a:t>
            </a:r>
          </a:p>
        </p:txBody>
      </p:sp>
      <p:sp>
        <p:nvSpPr>
          <p:cNvPr id="3" name="Subtitle 2"/>
          <p:cNvSpPr>
            <a:spLocks noGrp="1"/>
          </p:cNvSpPr>
          <p:nvPr userDrawn="1">
            <p:ph type="subTitle" idx="1" hasCustomPrompt="1"/>
          </p:nvPr>
        </p:nvSpPr>
        <p:spPr>
          <a:xfrm>
            <a:off x="723900" y="1947916"/>
            <a:ext cx="6544800" cy="1162229"/>
          </a:xfrm>
          <a:prstGeom prst="rect">
            <a:avLst/>
          </a:prstGeom>
        </p:spPr>
        <p:txBody>
          <a:bodyPr lIns="0" tIns="22677" rIns="0" bIns="22677">
            <a:normAutofit/>
          </a:bodyPr>
          <a:lstStyle>
            <a:lvl1pPr marL="0" indent="0" algn="l">
              <a:spcBef>
                <a:spcPts val="400"/>
              </a:spcBef>
              <a:buNone/>
              <a:defRPr sz="2000">
                <a:solidFill>
                  <a:srgbClr val="4D4D4D"/>
                </a:solidFill>
                <a:latin typeface="+mj-lt"/>
                <a:cs typeface="Calibri" panose="020B0604020202020204" pitchFamily="34" charset="0"/>
              </a:defRPr>
            </a:lvl1pPr>
            <a:lvl2pPr marL="408188" indent="0" algn="ctr">
              <a:buNone/>
              <a:defRPr>
                <a:solidFill>
                  <a:schemeClr val="tx1">
                    <a:tint val="75000"/>
                  </a:schemeClr>
                </a:solidFill>
              </a:defRPr>
            </a:lvl2pPr>
            <a:lvl3pPr marL="816376" indent="0" algn="ctr">
              <a:buNone/>
              <a:defRPr>
                <a:solidFill>
                  <a:schemeClr val="tx1">
                    <a:tint val="75000"/>
                  </a:schemeClr>
                </a:solidFill>
              </a:defRPr>
            </a:lvl3pPr>
            <a:lvl4pPr marL="1224564" indent="0" algn="ctr">
              <a:buNone/>
              <a:defRPr>
                <a:solidFill>
                  <a:schemeClr val="tx1">
                    <a:tint val="75000"/>
                  </a:schemeClr>
                </a:solidFill>
              </a:defRPr>
            </a:lvl4pPr>
            <a:lvl5pPr marL="1632753" indent="0" algn="ctr">
              <a:buNone/>
              <a:defRPr>
                <a:solidFill>
                  <a:schemeClr val="tx1">
                    <a:tint val="75000"/>
                  </a:schemeClr>
                </a:solidFill>
              </a:defRPr>
            </a:lvl5pPr>
            <a:lvl6pPr marL="2040941" indent="0" algn="ctr">
              <a:buNone/>
              <a:defRPr>
                <a:solidFill>
                  <a:schemeClr val="tx1">
                    <a:tint val="75000"/>
                  </a:schemeClr>
                </a:solidFill>
              </a:defRPr>
            </a:lvl6pPr>
            <a:lvl7pPr marL="2449129" indent="0" algn="ctr">
              <a:buNone/>
              <a:defRPr>
                <a:solidFill>
                  <a:schemeClr val="tx1">
                    <a:tint val="75000"/>
                  </a:schemeClr>
                </a:solidFill>
              </a:defRPr>
            </a:lvl7pPr>
            <a:lvl8pPr marL="2857317" indent="0" algn="ctr">
              <a:buNone/>
              <a:defRPr>
                <a:solidFill>
                  <a:schemeClr val="tx1">
                    <a:tint val="75000"/>
                  </a:schemeClr>
                </a:solidFill>
              </a:defRPr>
            </a:lvl8pPr>
            <a:lvl9pPr marL="3265505" indent="0" algn="ctr">
              <a:buNone/>
              <a:defRPr>
                <a:solidFill>
                  <a:schemeClr val="tx1">
                    <a:tint val="75000"/>
                  </a:schemeClr>
                </a:solidFill>
              </a:defRPr>
            </a:lvl9pPr>
          </a:lstStyle>
          <a:p>
            <a:r>
              <a:rPr lang="en-US" noProof="0"/>
              <a:t>Click to edit Master subtitle style</a:t>
            </a:r>
          </a:p>
        </p:txBody>
      </p:sp>
      <p:cxnSp>
        <p:nvCxnSpPr>
          <p:cNvPr id="279" name="Straight Connector 7"/>
          <p:cNvCxnSpPr/>
          <p:nvPr userDrawn="1"/>
        </p:nvCxnSpPr>
        <p:spPr>
          <a:xfrm>
            <a:off x="723900" y="1882544"/>
            <a:ext cx="653796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0"/>
          </p:nvPr>
        </p:nvSpPr>
        <p:spPr>
          <a:xfrm>
            <a:off x="723900" y="3764451"/>
            <a:ext cx="3448957" cy="273844"/>
          </a:xfrm>
          <a:prstGeom prst="rect">
            <a:avLst/>
          </a:prstGeom>
        </p:spPr>
        <p:txBody>
          <a:bodyPr/>
          <a:lstStyle>
            <a:lvl1pPr>
              <a:defRPr sz="1200"/>
            </a:lvl1pPr>
          </a:lstStyle>
          <a:p>
            <a:pPr algn="l"/>
            <a:r>
              <a:rPr lang="en-US" noProof="0"/>
              <a:t>internal / external/ confidential </a:t>
            </a:r>
          </a:p>
        </p:txBody>
      </p:sp>
      <p:pic>
        <p:nvPicPr>
          <p:cNvPr id="32" name="Picture 16" descr="C:\Users\DALLA2\AppData\Local\Temp\PKE5E3.tmp\Celanese new logo_color 4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26611" y="283168"/>
            <a:ext cx="1530489" cy="45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0587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Section Title">
    <p:spTree>
      <p:nvGrpSpPr>
        <p:cNvPr id="1" name=""/>
        <p:cNvGrpSpPr/>
        <p:nvPr/>
      </p:nvGrpSpPr>
      <p:grpSpPr>
        <a:xfrm>
          <a:off x="0" y="0"/>
          <a:ext cx="0" cy="0"/>
          <a:chOff x="0" y="0"/>
          <a:chExt cx="0" cy="0"/>
        </a:xfrm>
      </p:grpSpPr>
      <p:grpSp>
        <p:nvGrpSpPr>
          <p:cNvPr id="29" name="Gruppieren 28"/>
          <p:cNvGrpSpPr/>
          <p:nvPr userDrawn="1"/>
        </p:nvGrpSpPr>
        <p:grpSpPr>
          <a:xfrm>
            <a:off x="67505" y="2378975"/>
            <a:ext cx="9076495" cy="2764526"/>
            <a:chOff x="-1198563" y="1439863"/>
            <a:chExt cx="9974263" cy="3071812"/>
          </a:xfrm>
        </p:grpSpPr>
        <p:grpSp>
          <p:nvGrpSpPr>
            <p:cNvPr id="26" name="Gruppieren 25"/>
            <p:cNvGrpSpPr/>
            <p:nvPr userDrawn="1"/>
          </p:nvGrpSpPr>
          <p:grpSpPr>
            <a:xfrm>
              <a:off x="1689100" y="3344863"/>
              <a:ext cx="7086600" cy="1166812"/>
              <a:chOff x="1689100" y="3344863"/>
              <a:chExt cx="7086600" cy="1166812"/>
            </a:xfrm>
            <a:solidFill>
              <a:schemeClr val="accent2"/>
            </a:solidFill>
          </p:grpSpPr>
          <p:sp>
            <p:nvSpPr>
              <p:cNvPr id="8" name="Freeform 7"/>
              <p:cNvSpPr>
                <a:spLocks/>
              </p:cNvSpPr>
              <p:nvPr userDrawn="1"/>
            </p:nvSpPr>
            <p:spPr bwMode="auto">
              <a:xfrm>
                <a:off x="3641725" y="4413250"/>
                <a:ext cx="1905000" cy="98425"/>
              </a:xfrm>
              <a:custGeom>
                <a:avLst/>
                <a:gdLst>
                  <a:gd name="T0" fmla="*/ 0 w 508"/>
                  <a:gd name="T1" fmla="*/ 26 h 26"/>
                  <a:gd name="T2" fmla="*/ 30 w 508"/>
                  <a:gd name="T3" fmla="*/ 26 h 26"/>
                  <a:gd name="T4" fmla="*/ 480 w 508"/>
                  <a:gd name="T5" fmla="*/ 26 h 26"/>
                  <a:gd name="T6" fmla="*/ 508 w 508"/>
                  <a:gd name="T7" fmla="*/ 26 h 26"/>
                  <a:gd name="T8" fmla="*/ 0 w 508"/>
                  <a:gd name="T9" fmla="*/ 26 h 26"/>
                </a:gdLst>
                <a:ahLst/>
                <a:cxnLst>
                  <a:cxn ang="0">
                    <a:pos x="T0" y="T1"/>
                  </a:cxn>
                  <a:cxn ang="0">
                    <a:pos x="T2" y="T3"/>
                  </a:cxn>
                  <a:cxn ang="0">
                    <a:pos x="T4" y="T5"/>
                  </a:cxn>
                  <a:cxn ang="0">
                    <a:pos x="T6" y="T7"/>
                  </a:cxn>
                  <a:cxn ang="0">
                    <a:pos x="T8" y="T9"/>
                  </a:cxn>
                </a:cxnLst>
                <a:rect l="0" t="0" r="r" b="b"/>
                <a:pathLst>
                  <a:path w="508" h="26">
                    <a:moveTo>
                      <a:pt x="0" y="26"/>
                    </a:moveTo>
                    <a:cubicBezTo>
                      <a:pt x="30" y="26"/>
                      <a:pt x="30" y="26"/>
                      <a:pt x="30" y="26"/>
                    </a:cubicBezTo>
                    <a:cubicBezTo>
                      <a:pt x="191" y="6"/>
                      <a:pt x="329" y="6"/>
                      <a:pt x="480" y="26"/>
                    </a:cubicBezTo>
                    <a:cubicBezTo>
                      <a:pt x="508" y="26"/>
                      <a:pt x="508" y="26"/>
                      <a:pt x="508" y="26"/>
                    </a:cubicBezTo>
                    <a:cubicBezTo>
                      <a:pt x="337" y="0"/>
                      <a:pt x="184" y="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9" name="Freeform 8"/>
              <p:cNvSpPr>
                <a:spLocks/>
              </p:cNvSpPr>
              <p:nvPr userDrawn="1"/>
            </p:nvSpPr>
            <p:spPr bwMode="auto">
              <a:xfrm>
                <a:off x="3181350" y="4270375"/>
                <a:ext cx="3108325" cy="241300"/>
              </a:xfrm>
              <a:custGeom>
                <a:avLst/>
                <a:gdLst>
                  <a:gd name="T0" fmla="*/ 0 w 829"/>
                  <a:gd name="T1" fmla="*/ 64 h 64"/>
                  <a:gd name="T2" fmla="*/ 21 w 829"/>
                  <a:gd name="T3" fmla="*/ 64 h 64"/>
                  <a:gd name="T4" fmla="*/ 810 w 829"/>
                  <a:gd name="T5" fmla="*/ 64 h 64"/>
                  <a:gd name="T6" fmla="*/ 829 w 829"/>
                  <a:gd name="T7" fmla="*/ 64 h 64"/>
                  <a:gd name="T8" fmla="*/ 0 w 829"/>
                  <a:gd name="T9" fmla="*/ 64 h 64"/>
                </a:gdLst>
                <a:ahLst/>
                <a:cxnLst>
                  <a:cxn ang="0">
                    <a:pos x="T0" y="T1"/>
                  </a:cxn>
                  <a:cxn ang="0">
                    <a:pos x="T2" y="T3"/>
                  </a:cxn>
                  <a:cxn ang="0">
                    <a:pos x="T4" y="T5"/>
                  </a:cxn>
                  <a:cxn ang="0">
                    <a:pos x="T6" y="T7"/>
                  </a:cxn>
                  <a:cxn ang="0">
                    <a:pos x="T8" y="T9"/>
                  </a:cxn>
                </a:cxnLst>
                <a:rect l="0" t="0" r="r" b="b"/>
                <a:pathLst>
                  <a:path w="829" h="64">
                    <a:moveTo>
                      <a:pt x="0" y="64"/>
                    </a:moveTo>
                    <a:cubicBezTo>
                      <a:pt x="21" y="64"/>
                      <a:pt x="21" y="64"/>
                      <a:pt x="21" y="64"/>
                    </a:cubicBezTo>
                    <a:cubicBezTo>
                      <a:pt x="322" y="6"/>
                      <a:pt x="540" y="6"/>
                      <a:pt x="810" y="64"/>
                    </a:cubicBezTo>
                    <a:cubicBezTo>
                      <a:pt x="829" y="64"/>
                      <a:pt x="829" y="64"/>
                      <a:pt x="829" y="64"/>
                    </a:cubicBezTo>
                    <a:cubicBezTo>
                      <a:pt x="544" y="1"/>
                      <a:pt x="319" y="0"/>
                      <a:pt x="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 name="Freeform 9"/>
              <p:cNvSpPr>
                <a:spLocks/>
              </p:cNvSpPr>
              <p:nvPr userDrawn="1"/>
            </p:nvSpPr>
            <p:spPr bwMode="auto">
              <a:xfrm>
                <a:off x="2854325" y="4110038"/>
                <a:ext cx="4046538" cy="401637"/>
              </a:xfrm>
              <a:custGeom>
                <a:avLst/>
                <a:gdLst>
                  <a:gd name="T0" fmla="*/ 534 w 1079"/>
                  <a:gd name="T1" fmla="*/ 31 h 107"/>
                  <a:gd name="T2" fmla="*/ 0 w 1079"/>
                  <a:gd name="T3" fmla="*/ 107 h 107"/>
                  <a:gd name="T4" fmla="*/ 17 w 1079"/>
                  <a:gd name="T5" fmla="*/ 107 h 107"/>
                  <a:gd name="T6" fmla="*/ 1063 w 1079"/>
                  <a:gd name="T7" fmla="*/ 107 h 107"/>
                  <a:gd name="T8" fmla="*/ 1079 w 1079"/>
                  <a:gd name="T9" fmla="*/ 107 h 107"/>
                  <a:gd name="T10" fmla="*/ 534 w 1079"/>
                  <a:gd name="T11" fmla="*/ 31 h 107"/>
                </a:gdLst>
                <a:ahLst/>
                <a:cxnLst>
                  <a:cxn ang="0">
                    <a:pos x="T0" y="T1"/>
                  </a:cxn>
                  <a:cxn ang="0">
                    <a:pos x="T2" y="T3"/>
                  </a:cxn>
                  <a:cxn ang="0">
                    <a:pos x="T4" y="T5"/>
                  </a:cxn>
                  <a:cxn ang="0">
                    <a:pos x="T6" y="T7"/>
                  </a:cxn>
                  <a:cxn ang="0">
                    <a:pos x="T8" y="T9"/>
                  </a:cxn>
                  <a:cxn ang="0">
                    <a:pos x="T10" y="T11"/>
                  </a:cxn>
                </a:cxnLst>
                <a:rect l="0" t="0" r="r" b="b"/>
                <a:pathLst>
                  <a:path w="1079" h="107">
                    <a:moveTo>
                      <a:pt x="534" y="31"/>
                    </a:moveTo>
                    <a:cubicBezTo>
                      <a:pt x="378" y="33"/>
                      <a:pt x="218" y="56"/>
                      <a:pt x="0" y="107"/>
                    </a:cubicBezTo>
                    <a:cubicBezTo>
                      <a:pt x="17" y="107"/>
                      <a:pt x="17" y="107"/>
                      <a:pt x="17" y="107"/>
                    </a:cubicBezTo>
                    <a:cubicBezTo>
                      <a:pt x="378" y="23"/>
                      <a:pt x="657" y="0"/>
                      <a:pt x="1063" y="107"/>
                    </a:cubicBezTo>
                    <a:cubicBezTo>
                      <a:pt x="1079" y="107"/>
                      <a:pt x="1079" y="107"/>
                      <a:pt x="1079" y="107"/>
                    </a:cubicBezTo>
                    <a:cubicBezTo>
                      <a:pt x="878" y="53"/>
                      <a:pt x="705" y="29"/>
                      <a:pt x="53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1" name="Freeform 10"/>
              <p:cNvSpPr>
                <a:spLocks/>
              </p:cNvSpPr>
              <p:nvPr userDrawn="1"/>
            </p:nvSpPr>
            <p:spPr bwMode="auto">
              <a:xfrm>
                <a:off x="2576512" y="3929063"/>
                <a:ext cx="4883150" cy="582612"/>
              </a:xfrm>
              <a:custGeom>
                <a:avLst/>
                <a:gdLst>
                  <a:gd name="T0" fmla="*/ 0 w 1302"/>
                  <a:gd name="T1" fmla="*/ 155 h 155"/>
                  <a:gd name="T2" fmla="*/ 16 w 1302"/>
                  <a:gd name="T3" fmla="*/ 155 h 155"/>
                  <a:gd name="T4" fmla="*/ 1288 w 1302"/>
                  <a:gd name="T5" fmla="*/ 155 h 155"/>
                  <a:gd name="T6" fmla="*/ 1302 w 1302"/>
                  <a:gd name="T7" fmla="*/ 155 h 155"/>
                  <a:gd name="T8" fmla="*/ 0 w 1302"/>
                  <a:gd name="T9" fmla="*/ 155 h 155"/>
                </a:gdLst>
                <a:ahLst/>
                <a:cxnLst>
                  <a:cxn ang="0">
                    <a:pos x="T0" y="T1"/>
                  </a:cxn>
                  <a:cxn ang="0">
                    <a:pos x="T2" y="T3"/>
                  </a:cxn>
                  <a:cxn ang="0">
                    <a:pos x="T4" y="T5"/>
                  </a:cxn>
                  <a:cxn ang="0">
                    <a:pos x="T6" y="T7"/>
                  </a:cxn>
                  <a:cxn ang="0">
                    <a:pos x="T8" y="T9"/>
                  </a:cxn>
                </a:cxnLst>
                <a:rect l="0" t="0" r="r" b="b"/>
                <a:pathLst>
                  <a:path w="1302" h="155">
                    <a:moveTo>
                      <a:pt x="0" y="155"/>
                    </a:moveTo>
                    <a:cubicBezTo>
                      <a:pt x="16" y="155"/>
                      <a:pt x="16" y="155"/>
                      <a:pt x="16" y="155"/>
                    </a:cubicBezTo>
                    <a:cubicBezTo>
                      <a:pt x="478" y="36"/>
                      <a:pt x="792" y="7"/>
                      <a:pt x="1288" y="155"/>
                    </a:cubicBezTo>
                    <a:cubicBezTo>
                      <a:pt x="1302" y="155"/>
                      <a:pt x="1302" y="155"/>
                      <a:pt x="1302" y="155"/>
                    </a:cubicBezTo>
                    <a:cubicBezTo>
                      <a:pt x="792" y="0"/>
                      <a:pt x="475" y="32"/>
                      <a:pt x="0"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11"/>
              <p:cNvSpPr>
                <a:spLocks/>
              </p:cNvSpPr>
              <p:nvPr userDrawn="1"/>
            </p:nvSpPr>
            <p:spPr bwMode="auto">
              <a:xfrm>
                <a:off x="2333625" y="3798888"/>
                <a:ext cx="5654675" cy="712787"/>
              </a:xfrm>
              <a:custGeom>
                <a:avLst/>
                <a:gdLst>
                  <a:gd name="T0" fmla="*/ 751 w 1508"/>
                  <a:gd name="T1" fmla="*/ 57 h 190"/>
                  <a:gd name="T2" fmla="*/ 0 w 1508"/>
                  <a:gd name="T3" fmla="*/ 190 h 190"/>
                  <a:gd name="T4" fmla="*/ 15 w 1508"/>
                  <a:gd name="T5" fmla="*/ 190 h 190"/>
                  <a:gd name="T6" fmla="*/ 1495 w 1508"/>
                  <a:gd name="T7" fmla="*/ 190 h 190"/>
                  <a:gd name="T8" fmla="*/ 1508 w 1508"/>
                  <a:gd name="T9" fmla="*/ 190 h 190"/>
                  <a:gd name="T10" fmla="*/ 751 w 1508"/>
                  <a:gd name="T11" fmla="*/ 57 h 190"/>
                </a:gdLst>
                <a:ahLst/>
                <a:cxnLst>
                  <a:cxn ang="0">
                    <a:pos x="T0" y="T1"/>
                  </a:cxn>
                  <a:cxn ang="0">
                    <a:pos x="T2" y="T3"/>
                  </a:cxn>
                  <a:cxn ang="0">
                    <a:pos x="T4" y="T5"/>
                  </a:cxn>
                  <a:cxn ang="0">
                    <a:pos x="T6" y="T7"/>
                  </a:cxn>
                  <a:cxn ang="0">
                    <a:pos x="T8" y="T9"/>
                  </a:cxn>
                  <a:cxn ang="0">
                    <a:pos x="T10" y="T11"/>
                  </a:cxn>
                </a:cxnLst>
                <a:rect l="0" t="0" r="r" b="b"/>
                <a:pathLst>
                  <a:path w="1508" h="190">
                    <a:moveTo>
                      <a:pt x="751" y="57"/>
                    </a:moveTo>
                    <a:cubicBezTo>
                      <a:pt x="544" y="61"/>
                      <a:pt x="326" y="99"/>
                      <a:pt x="0" y="190"/>
                    </a:cubicBezTo>
                    <a:cubicBezTo>
                      <a:pt x="15" y="190"/>
                      <a:pt x="15" y="190"/>
                      <a:pt x="15" y="190"/>
                    </a:cubicBezTo>
                    <a:cubicBezTo>
                      <a:pt x="579" y="34"/>
                      <a:pt x="915" y="0"/>
                      <a:pt x="1495" y="190"/>
                    </a:cubicBezTo>
                    <a:cubicBezTo>
                      <a:pt x="1508" y="190"/>
                      <a:pt x="1508" y="190"/>
                      <a:pt x="1508" y="190"/>
                    </a:cubicBezTo>
                    <a:cubicBezTo>
                      <a:pt x="1217" y="94"/>
                      <a:pt x="984" y="53"/>
                      <a:pt x="75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3" name="Freeform 12"/>
              <p:cNvSpPr>
                <a:spLocks/>
              </p:cNvSpPr>
              <p:nvPr userDrawn="1"/>
            </p:nvSpPr>
            <p:spPr bwMode="auto">
              <a:xfrm>
                <a:off x="2108200" y="3663950"/>
                <a:ext cx="6394450" cy="847725"/>
              </a:xfrm>
              <a:custGeom>
                <a:avLst/>
                <a:gdLst>
                  <a:gd name="T0" fmla="*/ 851 w 1705"/>
                  <a:gd name="T1" fmla="*/ 64 h 226"/>
                  <a:gd name="T2" fmla="*/ 0 w 1705"/>
                  <a:gd name="T3" fmla="*/ 226 h 226"/>
                  <a:gd name="T4" fmla="*/ 14 w 1705"/>
                  <a:gd name="T5" fmla="*/ 226 h 226"/>
                  <a:gd name="T6" fmla="*/ 1692 w 1705"/>
                  <a:gd name="T7" fmla="*/ 226 h 226"/>
                  <a:gd name="T8" fmla="*/ 1705 w 1705"/>
                  <a:gd name="T9" fmla="*/ 226 h 226"/>
                  <a:gd name="T10" fmla="*/ 851 w 1705"/>
                  <a:gd name="T11" fmla="*/ 64 h 226"/>
                </a:gdLst>
                <a:ahLst/>
                <a:cxnLst>
                  <a:cxn ang="0">
                    <a:pos x="T0" y="T1"/>
                  </a:cxn>
                  <a:cxn ang="0">
                    <a:pos x="T2" y="T3"/>
                  </a:cxn>
                  <a:cxn ang="0">
                    <a:pos x="T4" y="T5"/>
                  </a:cxn>
                  <a:cxn ang="0">
                    <a:pos x="T6" y="T7"/>
                  </a:cxn>
                  <a:cxn ang="0">
                    <a:pos x="T8" y="T9"/>
                  </a:cxn>
                  <a:cxn ang="0">
                    <a:pos x="T10" y="T11"/>
                  </a:cxn>
                </a:cxnLst>
                <a:rect l="0" t="0" r="r" b="b"/>
                <a:pathLst>
                  <a:path w="1705" h="226">
                    <a:moveTo>
                      <a:pt x="851" y="64"/>
                    </a:moveTo>
                    <a:cubicBezTo>
                      <a:pt x="583" y="70"/>
                      <a:pt x="317" y="133"/>
                      <a:pt x="0" y="226"/>
                    </a:cubicBezTo>
                    <a:cubicBezTo>
                      <a:pt x="14" y="226"/>
                      <a:pt x="14" y="226"/>
                      <a:pt x="14" y="226"/>
                    </a:cubicBezTo>
                    <a:cubicBezTo>
                      <a:pt x="687" y="29"/>
                      <a:pt x="1047" y="0"/>
                      <a:pt x="1692" y="226"/>
                    </a:cubicBezTo>
                    <a:cubicBezTo>
                      <a:pt x="1705" y="226"/>
                      <a:pt x="1705" y="226"/>
                      <a:pt x="1705" y="226"/>
                    </a:cubicBezTo>
                    <a:cubicBezTo>
                      <a:pt x="1373" y="109"/>
                      <a:pt x="1110" y="59"/>
                      <a:pt x="85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4" name="Freeform 13"/>
              <p:cNvSpPr>
                <a:spLocks/>
              </p:cNvSpPr>
              <p:nvPr userDrawn="1"/>
            </p:nvSpPr>
            <p:spPr bwMode="auto">
              <a:xfrm>
                <a:off x="1895475" y="3524250"/>
                <a:ext cx="6880225" cy="987425"/>
              </a:xfrm>
              <a:custGeom>
                <a:avLst/>
                <a:gdLst>
                  <a:gd name="T0" fmla="*/ 1835 w 1835"/>
                  <a:gd name="T1" fmla="*/ 241 h 263"/>
                  <a:gd name="T2" fmla="*/ 924 w 1835"/>
                  <a:gd name="T3" fmla="*/ 74 h 263"/>
                  <a:gd name="T4" fmla="*/ 0 w 1835"/>
                  <a:gd name="T5" fmla="*/ 263 h 263"/>
                  <a:gd name="T6" fmla="*/ 13 w 1835"/>
                  <a:gd name="T7" fmla="*/ 263 h 263"/>
                  <a:gd name="T8" fmla="*/ 1835 w 1835"/>
                  <a:gd name="T9" fmla="*/ 246 h 263"/>
                  <a:gd name="T10" fmla="*/ 1835 w 1835"/>
                  <a:gd name="T11" fmla="*/ 241 h 263"/>
                </a:gdLst>
                <a:ahLst/>
                <a:cxnLst>
                  <a:cxn ang="0">
                    <a:pos x="T0" y="T1"/>
                  </a:cxn>
                  <a:cxn ang="0">
                    <a:pos x="T2" y="T3"/>
                  </a:cxn>
                  <a:cxn ang="0">
                    <a:pos x="T4" y="T5"/>
                  </a:cxn>
                  <a:cxn ang="0">
                    <a:pos x="T6" y="T7"/>
                  </a:cxn>
                  <a:cxn ang="0">
                    <a:pos x="T8" y="T9"/>
                  </a:cxn>
                  <a:cxn ang="0">
                    <a:pos x="T10" y="T11"/>
                  </a:cxn>
                </a:cxnLst>
                <a:rect l="0" t="0" r="r" b="b"/>
                <a:pathLst>
                  <a:path w="1835" h="263">
                    <a:moveTo>
                      <a:pt x="1835" y="241"/>
                    </a:moveTo>
                    <a:cubicBezTo>
                      <a:pt x="1484" y="116"/>
                      <a:pt x="1203" y="64"/>
                      <a:pt x="924" y="74"/>
                    </a:cubicBezTo>
                    <a:cubicBezTo>
                      <a:pt x="639" y="83"/>
                      <a:pt x="348" y="156"/>
                      <a:pt x="0" y="263"/>
                    </a:cubicBezTo>
                    <a:cubicBezTo>
                      <a:pt x="13" y="263"/>
                      <a:pt x="13" y="263"/>
                      <a:pt x="13" y="263"/>
                    </a:cubicBezTo>
                    <a:cubicBezTo>
                      <a:pt x="757" y="36"/>
                      <a:pt x="1148" y="0"/>
                      <a:pt x="1835" y="246"/>
                    </a:cubicBezTo>
                    <a:lnTo>
                      <a:pt x="1835"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5" name="Freeform 14"/>
              <p:cNvSpPr>
                <a:spLocks/>
              </p:cNvSpPr>
              <p:nvPr userDrawn="1"/>
            </p:nvSpPr>
            <p:spPr bwMode="auto">
              <a:xfrm>
                <a:off x="1689100" y="3344863"/>
                <a:ext cx="7086600" cy="1166812"/>
              </a:xfrm>
              <a:custGeom>
                <a:avLst/>
                <a:gdLst>
                  <a:gd name="T0" fmla="*/ 1890 w 1890"/>
                  <a:gd name="T1" fmla="*/ 241 h 311"/>
                  <a:gd name="T2" fmla="*/ 966 w 1890"/>
                  <a:gd name="T3" fmla="*/ 96 h 311"/>
                  <a:gd name="T4" fmla="*/ 0 w 1890"/>
                  <a:gd name="T5" fmla="*/ 311 h 311"/>
                  <a:gd name="T6" fmla="*/ 13 w 1890"/>
                  <a:gd name="T7" fmla="*/ 311 h 311"/>
                  <a:gd name="T8" fmla="*/ 1890 w 1890"/>
                  <a:gd name="T9" fmla="*/ 246 h 311"/>
                  <a:gd name="T10" fmla="*/ 1890 w 1890"/>
                  <a:gd name="T11" fmla="*/ 241 h 311"/>
                </a:gdLst>
                <a:ahLst/>
                <a:cxnLst>
                  <a:cxn ang="0">
                    <a:pos x="T0" y="T1"/>
                  </a:cxn>
                  <a:cxn ang="0">
                    <a:pos x="T2" y="T3"/>
                  </a:cxn>
                  <a:cxn ang="0">
                    <a:pos x="T4" y="T5"/>
                  </a:cxn>
                  <a:cxn ang="0">
                    <a:pos x="T6" y="T7"/>
                  </a:cxn>
                  <a:cxn ang="0">
                    <a:pos x="T8" y="T9"/>
                  </a:cxn>
                  <a:cxn ang="0">
                    <a:pos x="T10" y="T11"/>
                  </a:cxn>
                </a:cxnLst>
                <a:rect l="0" t="0" r="r" b="b"/>
                <a:pathLst>
                  <a:path w="1890" h="311">
                    <a:moveTo>
                      <a:pt x="1890" y="241"/>
                    </a:moveTo>
                    <a:cubicBezTo>
                      <a:pt x="1542" y="123"/>
                      <a:pt x="1257" y="78"/>
                      <a:pt x="966" y="96"/>
                    </a:cubicBezTo>
                    <a:cubicBezTo>
                      <a:pt x="673" y="113"/>
                      <a:pt x="368" y="194"/>
                      <a:pt x="0" y="311"/>
                    </a:cubicBezTo>
                    <a:cubicBezTo>
                      <a:pt x="13" y="311"/>
                      <a:pt x="13" y="311"/>
                      <a:pt x="13" y="311"/>
                    </a:cubicBezTo>
                    <a:cubicBezTo>
                      <a:pt x="741" y="81"/>
                      <a:pt x="1168" y="0"/>
                      <a:pt x="1890" y="246"/>
                    </a:cubicBezTo>
                    <a:lnTo>
                      <a:pt x="189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grpSp>
          <p:nvGrpSpPr>
            <p:cNvPr id="27" name="Gruppieren 26"/>
            <p:cNvGrpSpPr/>
            <p:nvPr userDrawn="1"/>
          </p:nvGrpSpPr>
          <p:grpSpPr>
            <a:xfrm>
              <a:off x="-1198563" y="1439863"/>
              <a:ext cx="9974263" cy="3071812"/>
              <a:chOff x="-1198563" y="1439863"/>
              <a:chExt cx="9974263" cy="3071812"/>
            </a:xfrm>
          </p:grpSpPr>
          <p:sp>
            <p:nvSpPr>
              <p:cNvPr id="6" name="Freeform 6"/>
              <p:cNvSpPr>
                <a:spLocks/>
              </p:cNvSpPr>
              <p:nvPr userDrawn="1"/>
            </p:nvSpPr>
            <p:spPr bwMode="auto">
              <a:xfrm>
                <a:off x="-677863" y="3094038"/>
                <a:ext cx="9453563" cy="1417637"/>
              </a:xfrm>
              <a:custGeom>
                <a:avLst/>
                <a:gdLst>
                  <a:gd name="T0" fmla="*/ 2521 w 2521"/>
                  <a:gd name="T1" fmla="*/ 220 h 378"/>
                  <a:gd name="T2" fmla="*/ 1724 w 2521"/>
                  <a:gd name="T3" fmla="*/ 38 h 378"/>
                  <a:gd name="T4" fmla="*/ 2521 w 2521"/>
                  <a:gd name="T5" fmla="*/ 164 h 378"/>
                  <a:gd name="T6" fmla="*/ 1716 w 2521"/>
                  <a:gd name="T7" fmla="*/ 30 h 378"/>
                  <a:gd name="T8" fmla="*/ 1553 w 2521"/>
                  <a:gd name="T9" fmla="*/ 41 h 378"/>
                  <a:gd name="T10" fmla="*/ 1501 w 2521"/>
                  <a:gd name="T11" fmla="*/ 41 h 378"/>
                  <a:gd name="T12" fmla="*/ 1449 w 2521"/>
                  <a:gd name="T13" fmla="*/ 36 h 378"/>
                  <a:gd name="T14" fmla="*/ 986 w 2521"/>
                  <a:gd name="T15" fmla="*/ 35 h 378"/>
                  <a:gd name="T16" fmla="*/ 0 w 2521"/>
                  <a:gd name="T17" fmla="*/ 378 h 378"/>
                  <a:gd name="T18" fmla="*/ 647 w 2521"/>
                  <a:gd name="T19" fmla="*/ 162 h 378"/>
                  <a:gd name="T20" fmla="*/ 1350 w 2521"/>
                  <a:gd name="T21" fmla="*/ 24 h 378"/>
                  <a:gd name="T22" fmla="*/ 666 w 2521"/>
                  <a:gd name="T23" fmla="*/ 169 h 378"/>
                  <a:gd name="T24" fmla="*/ 64 w 2521"/>
                  <a:gd name="T25" fmla="*/ 378 h 378"/>
                  <a:gd name="T26" fmla="*/ 996 w 2521"/>
                  <a:gd name="T27" fmla="*/ 54 h 378"/>
                  <a:gd name="T28" fmla="*/ 1005 w 2521"/>
                  <a:gd name="T29" fmla="*/ 65 h 378"/>
                  <a:gd name="T30" fmla="*/ 94 w 2521"/>
                  <a:gd name="T31" fmla="*/ 378 h 378"/>
                  <a:gd name="T32" fmla="*/ 688 w 2521"/>
                  <a:gd name="T33" fmla="*/ 183 h 378"/>
                  <a:gd name="T34" fmla="*/ 1412 w 2521"/>
                  <a:gd name="T35" fmla="*/ 36 h 378"/>
                  <a:gd name="T36" fmla="*/ 707 w 2521"/>
                  <a:gd name="T37" fmla="*/ 190 h 378"/>
                  <a:gd name="T38" fmla="*/ 159 w 2521"/>
                  <a:gd name="T39" fmla="*/ 378 h 378"/>
                  <a:gd name="T40" fmla="*/ 1015 w 2521"/>
                  <a:gd name="T41" fmla="*/ 84 h 378"/>
                  <a:gd name="T42" fmla="*/ 1024 w 2521"/>
                  <a:gd name="T43" fmla="*/ 95 h 378"/>
                  <a:gd name="T44" fmla="*/ 189 w 2521"/>
                  <a:gd name="T45" fmla="*/ 378 h 378"/>
                  <a:gd name="T46" fmla="*/ 729 w 2521"/>
                  <a:gd name="T47" fmla="*/ 204 h 378"/>
                  <a:gd name="T48" fmla="*/ 1453 w 2521"/>
                  <a:gd name="T49" fmla="*/ 43 h 378"/>
                  <a:gd name="T50" fmla="*/ 1033 w 2521"/>
                  <a:gd name="T51" fmla="*/ 110 h 378"/>
                  <a:gd name="T52" fmla="*/ 237 w 2521"/>
                  <a:gd name="T53" fmla="*/ 378 h 378"/>
                  <a:gd name="T54" fmla="*/ 749 w 2521"/>
                  <a:gd name="T55" fmla="*/ 215 h 378"/>
                  <a:gd name="T56" fmla="*/ 1470 w 2521"/>
                  <a:gd name="T57" fmla="*/ 47 h 378"/>
                  <a:gd name="T58" fmla="*/ 1043 w 2521"/>
                  <a:gd name="T59" fmla="*/ 125 h 378"/>
                  <a:gd name="T60" fmla="*/ 285 w 2521"/>
                  <a:gd name="T61" fmla="*/ 378 h 378"/>
                  <a:gd name="T62" fmla="*/ 769 w 2521"/>
                  <a:gd name="T63" fmla="*/ 226 h 378"/>
                  <a:gd name="T64" fmla="*/ 1484 w 2521"/>
                  <a:gd name="T65" fmla="*/ 51 h 378"/>
                  <a:gd name="T66" fmla="*/ 1052 w 2521"/>
                  <a:gd name="T67" fmla="*/ 139 h 378"/>
                  <a:gd name="T68" fmla="*/ 333 w 2521"/>
                  <a:gd name="T69" fmla="*/ 378 h 378"/>
                  <a:gd name="T70" fmla="*/ 789 w 2521"/>
                  <a:gd name="T71" fmla="*/ 237 h 378"/>
                  <a:gd name="T72" fmla="*/ 1494 w 2521"/>
                  <a:gd name="T73" fmla="*/ 53 h 378"/>
                  <a:gd name="T74" fmla="*/ 2134 w 2521"/>
                  <a:gd name="T75" fmla="*/ 378 h 378"/>
                  <a:gd name="T76" fmla="*/ 1506 w 2521"/>
                  <a:gd name="T77" fmla="*/ 52 h 378"/>
                  <a:gd name="T78" fmla="*/ 2224 w 2521"/>
                  <a:gd name="T79" fmla="*/ 378 h 378"/>
                  <a:gd name="T80" fmla="*/ 2230 w 2521"/>
                  <a:gd name="T81" fmla="*/ 378 h 378"/>
                  <a:gd name="T82" fmla="*/ 1522 w 2521"/>
                  <a:gd name="T83" fmla="*/ 50 h 378"/>
                  <a:gd name="T84" fmla="*/ 2329 w 2521"/>
                  <a:gd name="T85" fmla="*/ 378 h 378"/>
                  <a:gd name="T86" fmla="*/ 2335 w 2521"/>
                  <a:gd name="T87" fmla="*/ 378 h 378"/>
                  <a:gd name="T88" fmla="*/ 1545 w 2521"/>
                  <a:gd name="T89" fmla="*/ 49 h 378"/>
                  <a:gd name="T90" fmla="*/ 2445 w 2521"/>
                  <a:gd name="T91" fmla="*/ 378 h 378"/>
                  <a:gd name="T92" fmla="*/ 1722 w 2521"/>
                  <a:gd name="T93" fmla="*/ 71 h 378"/>
                  <a:gd name="T94" fmla="*/ 1559 w 2521"/>
                  <a:gd name="T95" fmla="*/ 46 h 378"/>
                  <a:gd name="T96" fmla="*/ 2521 w 2521"/>
                  <a:gd name="T97" fmla="*/ 349 h 378"/>
                  <a:gd name="T98" fmla="*/ 1593 w 2521"/>
                  <a:gd name="T99" fmla="*/ 45 h 378"/>
                  <a:gd name="T100" fmla="*/ 2521 w 2521"/>
                  <a:gd name="T101" fmla="*/ 278 h 378"/>
                  <a:gd name="T102" fmla="*/ 1638 w 2521"/>
                  <a:gd name="T103" fmla="*/ 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1" h="378">
                    <a:moveTo>
                      <a:pt x="1638" y="42"/>
                    </a:moveTo>
                    <a:cubicBezTo>
                      <a:pt x="1950" y="36"/>
                      <a:pt x="2246" y="95"/>
                      <a:pt x="2521" y="220"/>
                    </a:cubicBezTo>
                    <a:cubicBezTo>
                      <a:pt x="2521" y="215"/>
                      <a:pt x="2521" y="215"/>
                      <a:pt x="2521" y="215"/>
                    </a:cubicBezTo>
                    <a:cubicBezTo>
                      <a:pt x="2271" y="103"/>
                      <a:pt x="2003" y="43"/>
                      <a:pt x="1724" y="38"/>
                    </a:cubicBezTo>
                    <a:cubicBezTo>
                      <a:pt x="1700" y="37"/>
                      <a:pt x="1675" y="37"/>
                      <a:pt x="1650" y="38"/>
                    </a:cubicBezTo>
                    <a:cubicBezTo>
                      <a:pt x="1920" y="19"/>
                      <a:pt x="2211" y="46"/>
                      <a:pt x="2521" y="164"/>
                    </a:cubicBezTo>
                    <a:cubicBezTo>
                      <a:pt x="2521" y="160"/>
                      <a:pt x="2521" y="160"/>
                      <a:pt x="2521" y="160"/>
                    </a:cubicBezTo>
                    <a:cubicBezTo>
                      <a:pt x="2264" y="62"/>
                      <a:pt x="2001" y="20"/>
                      <a:pt x="1716" y="30"/>
                    </a:cubicBezTo>
                    <a:cubicBezTo>
                      <a:pt x="1669" y="32"/>
                      <a:pt x="1623" y="36"/>
                      <a:pt x="1579" y="40"/>
                    </a:cubicBezTo>
                    <a:cubicBezTo>
                      <a:pt x="1570" y="40"/>
                      <a:pt x="1562" y="41"/>
                      <a:pt x="1553" y="41"/>
                    </a:cubicBezTo>
                    <a:cubicBezTo>
                      <a:pt x="1545" y="41"/>
                      <a:pt x="1537" y="41"/>
                      <a:pt x="1530" y="41"/>
                    </a:cubicBezTo>
                    <a:cubicBezTo>
                      <a:pt x="1520" y="41"/>
                      <a:pt x="1511" y="41"/>
                      <a:pt x="1501" y="41"/>
                    </a:cubicBezTo>
                    <a:cubicBezTo>
                      <a:pt x="1492" y="40"/>
                      <a:pt x="1483" y="39"/>
                      <a:pt x="1475" y="39"/>
                    </a:cubicBezTo>
                    <a:cubicBezTo>
                      <a:pt x="1466" y="38"/>
                      <a:pt x="1457" y="37"/>
                      <a:pt x="1449" y="36"/>
                    </a:cubicBezTo>
                    <a:cubicBezTo>
                      <a:pt x="1441" y="35"/>
                      <a:pt x="1433" y="34"/>
                      <a:pt x="1426" y="33"/>
                    </a:cubicBezTo>
                    <a:cubicBezTo>
                      <a:pt x="1267" y="0"/>
                      <a:pt x="1117" y="1"/>
                      <a:pt x="986" y="35"/>
                    </a:cubicBezTo>
                    <a:cubicBezTo>
                      <a:pt x="892" y="60"/>
                      <a:pt x="777" y="106"/>
                      <a:pt x="645" y="158"/>
                    </a:cubicBezTo>
                    <a:cubicBezTo>
                      <a:pt x="455" y="234"/>
                      <a:pt x="239" y="319"/>
                      <a:pt x="0" y="378"/>
                    </a:cubicBezTo>
                    <a:cubicBezTo>
                      <a:pt x="17" y="378"/>
                      <a:pt x="17" y="378"/>
                      <a:pt x="17" y="378"/>
                    </a:cubicBezTo>
                    <a:cubicBezTo>
                      <a:pt x="250" y="319"/>
                      <a:pt x="460" y="236"/>
                      <a:pt x="647" y="162"/>
                    </a:cubicBezTo>
                    <a:cubicBezTo>
                      <a:pt x="779" y="109"/>
                      <a:pt x="893" y="64"/>
                      <a:pt x="987" y="39"/>
                    </a:cubicBezTo>
                    <a:cubicBezTo>
                      <a:pt x="1102" y="9"/>
                      <a:pt x="1226" y="6"/>
                      <a:pt x="1350" y="24"/>
                    </a:cubicBezTo>
                    <a:cubicBezTo>
                      <a:pt x="1223" y="13"/>
                      <a:pt x="1103" y="22"/>
                      <a:pt x="995" y="50"/>
                    </a:cubicBezTo>
                    <a:cubicBezTo>
                      <a:pt x="901" y="75"/>
                      <a:pt x="792" y="118"/>
                      <a:pt x="666" y="169"/>
                    </a:cubicBezTo>
                    <a:cubicBezTo>
                      <a:pt x="485" y="241"/>
                      <a:pt x="280" y="322"/>
                      <a:pt x="47" y="378"/>
                    </a:cubicBezTo>
                    <a:cubicBezTo>
                      <a:pt x="64" y="378"/>
                      <a:pt x="64" y="378"/>
                      <a:pt x="64" y="378"/>
                    </a:cubicBezTo>
                    <a:cubicBezTo>
                      <a:pt x="290" y="322"/>
                      <a:pt x="490" y="243"/>
                      <a:pt x="667" y="172"/>
                    </a:cubicBezTo>
                    <a:cubicBezTo>
                      <a:pt x="794" y="122"/>
                      <a:pt x="903" y="79"/>
                      <a:pt x="996" y="54"/>
                    </a:cubicBezTo>
                    <a:cubicBezTo>
                      <a:pt x="1116" y="23"/>
                      <a:pt x="1244" y="17"/>
                      <a:pt x="1373" y="30"/>
                    </a:cubicBezTo>
                    <a:cubicBezTo>
                      <a:pt x="1242" y="24"/>
                      <a:pt x="1118" y="35"/>
                      <a:pt x="1005" y="65"/>
                    </a:cubicBezTo>
                    <a:cubicBezTo>
                      <a:pt x="911" y="90"/>
                      <a:pt x="807" y="131"/>
                      <a:pt x="687" y="179"/>
                    </a:cubicBezTo>
                    <a:cubicBezTo>
                      <a:pt x="515" y="248"/>
                      <a:pt x="320" y="325"/>
                      <a:pt x="94" y="378"/>
                    </a:cubicBezTo>
                    <a:cubicBezTo>
                      <a:pt x="112" y="378"/>
                      <a:pt x="112" y="378"/>
                      <a:pt x="112" y="378"/>
                    </a:cubicBezTo>
                    <a:cubicBezTo>
                      <a:pt x="331" y="325"/>
                      <a:pt x="520" y="250"/>
                      <a:pt x="688" y="183"/>
                    </a:cubicBezTo>
                    <a:cubicBezTo>
                      <a:pt x="809" y="135"/>
                      <a:pt x="913" y="93"/>
                      <a:pt x="1006" y="69"/>
                    </a:cubicBezTo>
                    <a:cubicBezTo>
                      <a:pt x="1131" y="36"/>
                      <a:pt x="1269" y="26"/>
                      <a:pt x="1412" y="36"/>
                    </a:cubicBezTo>
                    <a:cubicBezTo>
                      <a:pt x="1272" y="33"/>
                      <a:pt x="1138" y="48"/>
                      <a:pt x="1014" y="80"/>
                    </a:cubicBezTo>
                    <a:cubicBezTo>
                      <a:pt x="921" y="104"/>
                      <a:pt x="822" y="144"/>
                      <a:pt x="707" y="190"/>
                    </a:cubicBezTo>
                    <a:cubicBezTo>
                      <a:pt x="545" y="255"/>
                      <a:pt x="360" y="328"/>
                      <a:pt x="142" y="378"/>
                    </a:cubicBezTo>
                    <a:cubicBezTo>
                      <a:pt x="159" y="378"/>
                      <a:pt x="159" y="378"/>
                      <a:pt x="159" y="378"/>
                    </a:cubicBezTo>
                    <a:cubicBezTo>
                      <a:pt x="371" y="328"/>
                      <a:pt x="550" y="257"/>
                      <a:pt x="709" y="194"/>
                    </a:cubicBezTo>
                    <a:cubicBezTo>
                      <a:pt x="823" y="148"/>
                      <a:pt x="922" y="108"/>
                      <a:pt x="1015" y="84"/>
                    </a:cubicBezTo>
                    <a:cubicBezTo>
                      <a:pt x="1143" y="50"/>
                      <a:pt x="1281" y="36"/>
                      <a:pt x="1423" y="41"/>
                    </a:cubicBezTo>
                    <a:cubicBezTo>
                      <a:pt x="1285" y="44"/>
                      <a:pt x="1150" y="62"/>
                      <a:pt x="1024" y="95"/>
                    </a:cubicBezTo>
                    <a:cubicBezTo>
                      <a:pt x="931" y="119"/>
                      <a:pt x="832" y="159"/>
                      <a:pt x="728" y="201"/>
                    </a:cubicBezTo>
                    <a:cubicBezTo>
                      <a:pt x="574" y="262"/>
                      <a:pt x="401" y="331"/>
                      <a:pt x="189" y="378"/>
                    </a:cubicBezTo>
                    <a:cubicBezTo>
                      <a:pt x="208" y="378"/>
                      <a:pt x="208" y="378"/>
                      <a:pt x="208" y="378"/>
                    </a:cubicBezTo>
                    <a:cubicBezTo>
                      <a:pt x="411" y="331"/>
                      <a:pt x="580" y="264"/>
                      <a:pt x="729" y="204"/>
                    </a:cubicBezTo>
                    <a:cubicBezTo>
                      <a:pt x="834" y="163"/>
                      <a:pt x="932" y="123"/>
                      <a:pt x="1025" y="99"/>
                    </a:cubicBezTo>
                    <a:cubicBezTo>
                      <a:pt x="1163" y="62"/>
                      <a:pt x="1307" y="44"/>
                      <a:pt x="1453" y="43"/>
                    </a:cubicBezTo>
                    <a:cubicBezTo>
                      <a:pt x="1455" y="43"/>
                      <a:pt x="1456" y="44"/>
                      <a:pt x="1457" y="44"/>
                    </a:cubicBezTo>
                    <a:cubicBezTo>
                      <a:pt x="1314" y="52"/>
                      <a:pt x="1170" y="74"/>
                      <a:pt x="1033" y="110"/>
                    </a:cubicBezTo>
                    <a:cubicBezTo>
                      <a:pt x="941" y="134"/>
                      <a:pt x="847" y="172"/>
                      <a:pt x="748" y="211"/>
                    </a:cubicBezTo>
                    <a:cubicBezTo>
                      <a:pt x="604" y="269"/>
                      <a:pt x="441" y="334"/>
                      <a:pt x="237" y="378"/>
                    </a:cubicBezTo>
                    <a:cubicBezTo>
                      <a:pt x="256" y="378"/>
                      <a:pt x="256" y="378"/>
                      <a:pt x="256" y="378"/>
                    </a:cubicBezTo>
                    <a:cubicBezTo>
                      <a:pt x="452" y="334"/>
                      <a:pt x="609" y="271"/>
                      <a:pt x="749" y="215"/>
                    </a:cubicBezTo>
                    <a:cubicBezTo>
                      <a:pt x="848" y="175"/>
                      <a:pt x="942" y="138"/>
                      <a:pt x="1034" y="114"/>
                    </a:cubicBezTo>
                    <a:cubicBezTo>
                      <a:pt x="1144" y="85"/>
                      <a:pt x="1294" y="56"/>
                      <a:pt x="1470" y="47"/>
                    </a:cubicBezTo>
                    <a:cubicBezTo>
                      <a:pt x="1470" y="47"/>
                      <a:pt x="1471" y="47"/>
                      <a:pt x="1471" y="47"/>
                    </a:cubicBezTo>
                    <a:cubicBezTo>
                      <a:pt x="1332" y="61"/>
                      <a:pt x="1188" y="86"/>
                      <a:pt x="1043" y="125"/>
                    </a:cubicBezTo>
                    <a:cubicBezTo>
                      <a:pt x="951" y="149"/>
                      <a:pt x="862" y="184"/>
                      <a:pt x="768" y="222"/>
                    </a:cubicBezTo>
                    <a:cubicBezTo>
                      <a:pt x="633" y="276"/>
                      <a:pt x="481" y="337"/>
                      <a:pt x="285" y="378"/>
                    </a:cubicBezTo>
                    <a:cubicBezTo>
                      <a:pt x="304" y="378"/>
                      <a:pt x="304" y="378"/>
                      <a:pt x="304" y="378"/>
                    </a:cubicBezTo>
                    <a:cubicBezTo>
                      <a:pt x="492" y="337"/>
                      <a:pt x="639" y="278"/>
                      <a:pt x="769" y="226"/>
                    </a:cubicBezTo>
                    <a:cubicBezTo>
                      <a:pt x="863" y="188"/>
                      <a:pt x="952" y="153"/>
                      <a:pt x="1044" y="128"/>
                    </a:cubicBezTo>
                    <a:cubicBezTo>
                      <a:pt x="1194" y="89"/>
                      <a:pt x="1340" y="63"/>
                      <a:pt x="1484" y="51"/>
                    </a:cubicBezTo>
                    <a:cubicBezTo>
                      <a:pt x="1484" y="51"/>
                      <a:pt x="1484" y="51"/>
                      <a:pt x="1484" y="51"/>
                    </a:cubicBezTo>
                    <a:cubicBezTo>
                      <a:pt x="1320" y="73"/>
                      <a:pt x="1172" y="108"/>
                      <a:pt x="1052" y="139"/>
                    </a:cubicBezTo>
                    <a:cubicBezTo>
                      <a:pt x="960" y="164"/>
                      <a:pt x="876" y="197"/>
                      <a:pt x="788" y="233"/>
                    </a:cubicBezTo>
                    <a:cubicBezTo>
                      <a:pt x="663" y="284"/>
                      <a:pt x="521" y="340"/>
                      <a:pt x="333" y="378"/>
                    </a:cubicBezTo>
                    <a:cubicBezTo>
                      <a:pt x="353" y="378"/>
                      <a:pt x="353" y="378"/>
                      <a:pt x="353" y="378"/>
                    </a:cubicBezTo>
                    <a:cubicBezTo>
                      <a:pt x="532" y="340"/>
                      <a:pt x="668" y="286"/>
                      <a:pt x="789" y="237"/>
                    </a:cubicBezTo>
                    <a:cubicBezTo>
                      <a:pt x="878" y="201"/>
                      <a:pt x="962" y="167"/>
                      <a:pt x="1054" y="143"/>
                    </a:cubicBezTo>
                    <a:cubicBezTo>
                      <a:pt x="1191" y="107"/>
                      <a:pt x="1339" y="74"/>
                      <a:pt x="1494" y="53"/>
                    </a:cubicBezTo>
                    <a:cubicBezTo>
                      <a:pt x="1729" y="115"/>
                      <a:pt x="1957" y="239"/>
                      <a:pt x="2128" y="378"/>
                    </a:cubicBezTo>
                    <a:cubicBezTo>
                      <a:pt x="2134" y="378"/>
                      <a:pt x="2134" y="378"/>
                      <a:pt x="2134" y="378"/>
                    </a:cubicBezTo>
                    <a:cubicBezTo>
                      <a:pt x="1974" y="247"/>
                      <a:pt x="1780" y="140"/>
                      <a:pt x="1587" y="76"/>
                    </a:cubicBezTo>
                    <a:cubicBezTo>
                      <a:pt x="1560" y="67"/>
                      <a:pt x="1533" y="59"/>
                      <a:pt x="1506" y="52"/>
                    </a:cubicBezTo>
                    <a:cubicBezTo>
                      <a:pt x="1507" y="52"/>
                      <a:pt x="1507" y="52"/>
                      <a:pt x="1508" y="51"/>
                    </a:cubicBezTo>
                    <a:cubicBezTo>
                      <a:pt x="1773" y="106"/>
                      <a:pt x="2032" y="233"/>
                      <a:pt x="2224" y="378"/>
                    </a:cubicBezTo>
                    <a:cubicBezTo>
                      <a:pt x="2230" y="378"/>
                      <a:pt x="2230" y="378"/>
                      <a:pt x="2230" y="378"/>
                    </a:cubicBezTo>
                    <a:cubicBezTo>
                      <a:pt x="2230" y="378"/>
                      <a:pt x="2230" y="378"/>
                      <a:pt x="2230" y="378"/>
                    </a:cubicBezTo>
                    <a:cubicBezTo>
                      <a:pt x="2054" y="244"/>
                      <a:pt x="1841" y="137"/>
                      <a:pt x="1631" y="77"/>
                    </a:cubicBezTo>
                    <a:cubicBezTo>
                      <a:pt x="1594" y="66"/>
                      <a:pt x="1558" y="57"/>
                      <a:pt x="1522" y="50"/>
                    </a:cubicBezTo>
                    <a:cubicBezTo>
                      <a:pt x="1524" y="50"/>
                      <a:pt x="1525" y="49"/>
                      <a:pt x="1527" y="49"/>
                    </a:cubicBezTo>
                    <a:cubicBezTo>
                      <a:pt x="1800" y="90"/>
                      <a:pt x="2084" y="203"/>
                      <a:pt x="2329" y="378"/>
                    </a:cubicBezTo>
                    <a:cubicBezTo>
                      <a:pt x="2335" y="378"/>
                      <a:pt x="2335" y="378"/>
                      <a:pt x="2335" y="378"/>
                    </a:cubicBezTo>
                    <a:cubicBezTo>
                      <a:pt x="2335" y="378"/>
                      <a:pt x="2335" y="378"/>
                      <a:pt x="2335" y="378"/>
                    </a:cubicBezTo>
                    <a:cubicBezTo>
                      <a:pt x="2139" y="237"/>
                      <a:pt x="1911" y="132"/>
                      <a:pt x="1676" y="75"/>
                    </a:cubicBezTo>
                    <a:cubicBezTo>
                      <a:pt x="1632" y="65"/>
                      <a:pt x="1588" y="56"/>
                      <a:pt x="1545" y="49"/>
                    </a:cubicBezTo>
                    <a:cubicBezTo>
                      <a:pt x="1854" y="80"/>
                      <a:pt x="2173" y="194"/>
                      <a:pt x="2441" y="378"/>
                    </a:cubicBezTo>
                    <a:cubicBezTo>
                      <a:pt x="2445" y="378"/>
                      <a:pt x="2445" y="378"/>
                      <a:pt x="2445" y="378"/>
                    </a:cubicBezTo>
                    <a:cubicBezTo>
                      <a:pt x="2446" y="377"/>
                      <a:pt x="2446" y="377"/>
                      <a:pt x="2446" y="377"/>
                    </a:cubicBezTo>
                    <a:cubicBezTo>
                      <a:pt x="2231" y="228"/>
                      <a:pt x="1980" y="123"/>
                      <a:pt x="1722" y="71"/>
                    </a:cubicBezTo>
                    <a:cubicBezTo>
                      <a:pt x="1666" y="60"/>
                      <a:pt x="1611" y="52"/>
                      <a:pt x="1557" y="46"/>
                    </a:cubicBezTo>
                    <a:cubicBezTo>
                      <a:pt x="1557" y="46"/>
                      <a:pt x="1558" y="46"/>
                      <a:pt x="1559" y="46"/>
                    </a:cubicBezTo>
                    <a:cubicBezTo>
                      <a:pt x="1892" y="62"/>
                      <a:pt x="2229" y="168"/>
                      <a:pt x="2521" y="353"/>
                    </a:cubicBezTo>
                    <a:cubicBezTo>
                      <a:pt x="2521" y="349"/>
                      <a:pt x="2521" y="349"/>
                      <a:pt x="2521" y="349"/>
                    </a:cubicBezTo>
                    <a:cubicBezTo>
                      <a:pt x="2285" y="199"/>
                      <a:pt x="2025" y="102"/>
                      <a:pt x="1747" y="61"/>
                    </a:cubicBezTo>
                    <a:cubicBezTo>
                      <a:pt x="1696" y="54"/>
                      <a:pt x="1644" y="48"/>
                      <a:pt x="1593" y="45"/>
                    </a:cubicBezTo>
                    <a:cubicBezTo>
                      <a:pt x="1867" y="48"/>
                      <a:pt x="2190" y="105"/>
                      <a:pt x="2521" y="282"/>
                    </a:cubicBezTo>
                    <a:cubicBezTo>
                      <a:pt x="2521" y="278"/>
                      <a:pt x="2521" y="278"/>
                      <a:pt x="2521" y="278"/>
                    </a:cubicBezTo>
                    <a:cubicBezTo>
                      <a:pt x="2277" y="147"/>
                      <a:pt x="2012" y="70"/>
                      <a:pt x="1734" y="48"/>
                    </a:cubicBezTo>
                    <a:cubicBezTo>
                      <a:pt x="1702" y="45"/>
                      <a:pt x="1670" y="43"/>
                      <a:pt x="1638" y="4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16" name="Freeform 15"/>
              <p:cNvSpPr>
                <a:spLocks/>
              </p:cNvSpPr>
              <p:nvPr userDrawn="1"/>
            </p:nvSpPr>
            <p:spPr bwMode="auto">
              <a:xfrm>
                <a:off x="-1198563" y="1439863"/>
                <a:ext cx="9974263" cy="3071812"/>
              </a:xfrm>
              <a:custGeom>
                <a:avLst/>
                <a:gdLst>
                  <a:gd name="T0" fmla="*/ 2660 w 2660"/>
                  <a:gd name="T1" fmla="*/ 0 h 819"/>
                  <a:gd name="T2" fmla="*/ 1409 w 2660"/>
                  <a:gd name="T3" fmla="*/ 441 h 819"/>
                  <a:gd name="T4" fmla="*/ 1385 w 2660"/>
                  <a:gd name="T5" fmla="*/ 450 h 819"/>
                  <a:gd name="T6" fmla="*/ 1369 w 2660"/>
                  <a:gd name="T7" fmla="*/ 456 h 819"/>
                  <a:gd name="T8" fmla="*/ 1342 w 2660"/>
                  <a:gd name="T9" fmla="*/ 466 h 819"/>
                  <a:gd name="T10" fmla="*/ 1325 w 2660"/>
                  <a:gd name="T11" fmla="*/ 472 h 819"/>
                  <a:gd name="T12" fmla="*/ 1303 w 2660"/>
                  <a:gd name="T13" fmla="*/ 479 h 819"/>
                  <a:gd name="T14" fmla="*/ 1282 w 2660"/>
                  <a:gd name="T15" fmla="*/ 486 h 819"/>
                  <a:gd name="T16" fmla="*/ 1251 w 2660"/>
                  <a:gd name="T17" fmla="*/ 495 h 819"/>
                  <a:gd name="T18" fmla="*/ 0 w 2660"/>
                  <a:gd name="T19" fmla="*/ 819 h 819"/>
                  <a:gd name="T20" fmla="*/ 21 w 2660"/>
                  <a:gd name="T21" fmla="*/ 819 h 819"/>
                  <a:gd name="T22" fmla="*/ 990 w 2660"/>
                  <a:gd name="T23" fmla="*/ 578 h 819"/>
                  <a:gd name="T24" fmla="*/ 52 w 2660"/>
                  <a:gd name="T25" fmla="*/ 819 h 819"/>
                  <a:gd name="T26" fmla="*/ 72 w 2660"/>
                  <a:gd name="T27" fmla="*/ 819 h 819"/>
                  <a:gd name="T28" fmla="*/ 1018 w 2660"/>
                  <a:gd name="T29" fmla="*/ 573 h 819"/>
                  <a:gd name="T30" fmla="*/ 105 w 2660"/>
                  <a:gd name="T31" fmla="*/ 819 h 819"/>
                  <a:gd name="T32" fmla="*/ 124 w 2660"/>
                  <a:gd name="T33" fmla="*/ 819 h 819"/>
                  <a:gd name="T34" fmla="*/ 1063 w 2660"/>
                  <a:gd name="T35" fmla="*/ 563 h 819"/>
                  <a:gd name="T36" fmla="*/ 158 w 2660"/>
                  <a:gd name="T37" fmla="*/ 819 h 819"/>
                  <a:gd name="T38" fmla="*/ 176 w 2660"/>
                  <a:gd name="T39" fmla="*/ 819 h 819"/>
                  <a:gd name="T40" fmla="*/ 1096 w 2660"/>
                  <a:gd name="T41" fmla="*/ 556 h 819"/>
                  <a:gd name="T42" fmla="*/ 211 w 2660"/>
                  <a:gd name="T43" fmla="*/ 819 h 819"/>
                  <a:gd name="T44" fmla="*/ 228 w 2660"/>
                  <a:gd name="T45" fmla="*/ 819 h 819"/>
                  <a:gd name="T46" fmla="*/ 1131 w 2660"/>
                  <a:gd name="T47" fmla="*/ 548 h 819"/>
                  <a:gd name="T48" fmla="*/ 264 w 2660"/>
                  <a:gd name="T49" fmla="*/ 819 h 819"/>
                  <a:gd name="T50" fmla="*/ 281 w 2660"/>
                  <a:gd name="T51" fmla="*/ 819 h 819"/>
                  <a:gd name="T52" fmla="*/ 1161 w 2660"/>
                  <a:gd name="T53" fmla="*/ 541 h 819"/>
                  <a:gd name="T54" fmla="*/ 318 w 2660"/>
                  <a:gd name="T55" fmla="*/ 819 h 819"/>
                  <a:gd name="T56" fmla="*/ 334 w 2660"/>
                  <a:gd name="T57" fmla="*/ 819 h 819"/>
                  <a:gd name="T58" fmla="*/ 1193 w 2660"/>
                  <a:gd name="T59" fmla="*/ 533 h 819"/>
                  <a:gd name="T60" fmla="*/ 372 w 2660"/>
                  <a:gd name="T61" fmla="*/ 819 h 819"/>
                  <a:gd name="T62" fmla="*/ 387 w 2660"/>
                  <a:gd name="T63" fmla="*/ 819 h 819"/>
                  <a:gd name="T64" fmla="*/ 1335 w 2660"/>
                  <a:gd name="T65" fmla="*/ 477 h 819"/>
                  <a:gd name="T66" fmla="*/ 1346 w 2660"/>
                  <a:gd name="T67" fmla="*/ 472 h 819"/>
                  <a:gd name="T68" fmla="*/ 2660 w 2660"/>
                  <a:gd name="T69" fmla="*/ 217 h 819"/>
                  <a:gd name="T70" fmla="*/ 2660 w 2660"/>
                  <a:gd name="T71" fmla="*/ 213 h 819"/>
                  <a:gd name="T72" fmla="*/ 1454 w 2660"/>
                  <a:gd name="T73" fmla="*/ 439 h 819"/>
                  <a:gd name="T74" fmla="*/ 2660 w 2660"/>
                  <a:gd name="T75" fmla="*/ 187 h 819"/>
                  <a:gd name="T76" fmla="*/ 2660 w 2660"/>
                  <a:gd name="T77" fmla="*/ 183 h 819"/>
                  <a:gd name="T78" fmla="*/ 1481 w 2660"/>
                  <a:gd name="T79" fmla="*/ 428 h 819"/>
                  <a:gd name="T80" fmla="*/ 2660 w 2660"/>
                  <a:gd name="T81" fmla="*/ 156 h 819"/>
                  <a:gd name="T82" fmla="*/ 2660 w 2660"/>
                  <a:gd name="T83" fmla="*/ 152 h 819"/>
                  <a:gd name="T84" fmla="*/ 1509 w 2660"/>
                  <a:gd name="T85" fmla="*/ 415 h 819"/>
                  <a:gd name="T86" fmla="*/ 2660 w 2660"/>
                  <a:gd name="T87" fmla="*/ 126 h 819"/>
                  <a:gd name="T88" fmla="*/ 2660 w 2660"/>
                  <a:gd name="T89" fmla="*/ 122 h 819"/>
                  <a:gd name="T90" fmla="*/ 1514 w 2660"/>
                  <a:gd name="T91" fmla="*/ 409 h 819"/>
                  <a:gd name="T92" fmla="*/ 2660 w 2660"/>
                  <a:gd name="T93" fmla="*/ 95 h 819"/>
                  <a:gd name="T94" fmla="*/ 2660 w 2660"/>
                  <a:gd name="T95" fmla="*/ 91 h 819"/>
                  <a:gd name="T96" fmla="*/ 1548 w 2660"/>
                  <a:gd name="T97" fmla="*/ 394 h 819"/>
                  <a:gd name="T98" fmla="*/ 2660 w 2660"/>
                  <a:gd name="T99" fmla="*/ 65 h 819"/>
                  <a:gd name="T100" fmla="*/ 2660 w 2660"/>
                  <a:gd name="T101" fmla="*/ 61 h 819"/>
                  <a:gd name="T102" fmla="*/ 1566 w 2660"/>
                  <a:gd name="T103" fmla="*/ 383 h 819"/>
                  <a:gd name="T104" fmla="*/ 2660 w 2660"/>
                  <a:gd name="T105" fmla="*/ 35 h 819"/>
                  <a:gd name="T106" fmla="*/ 2660 w 2660"/>
                  <a:gd name="T107" fmla="*/ 31 h 819"/>
                  <a:gd name="T108" fmla="*/ 1584 w 2660"/>
                  <a:gd name="T109" fmla="*/ 371 h 819"/>
                  <a:gd name="T110" fmla="*/ 2660 w 2660"/>
                  <a:gd name="T111" fmla="*/ 4 h 819"/>
                  <a:gd name="T112" fmla="*/ 2660 w 2660"/>
                  <a:gd name="T113"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0" h="819">
                    <a:moveTo>
                      <a:pt x="2660" y="0"/>
                    </a:moveTo>
                    <a:cubicBezTo>
                      <a:pt x="2424" y="40"/>
                      <a:pt x="1981" y="196"/>
                      <a:pt x="1409" y="441"/>
                    </a:cubicBezTo>
                    <a:cubicBezTo>
                      <a:pt x="1401" y="444"/>
                      <a:pt x="1393" y="447"/>
                      <a:pt x="1385" y="450"/>
                    </a:cubicBezTo>
                    <a:cubicBezTo>
                      <a:pt x="1380" y="452"/>
                      <a:pt x="1374" y="454"/>
                      <a:pt x="1369" y="456"/>
                    </a:cubicBezTo>
                    <a:cubicBezTo>
                      <a:pt x="1360" y="460"/>
                      <a:pt x="1350" y="463"/>
                      <a:pt x="1342" y="466"/>
                    </a:cubicBezTo>
                    <a:cubicBezTo>
                      <a:pt x="1336" y="468"/>
                      <a:pt x="1331" y="470"/>
                      <a:pt x="1325" y="472"/>
                    </a:cubicBezTo>
                    <a:cubicBezTo>
                      <a:pt x="1318" y="475"/>
                      <a:pt x="1310" y="477"/>
                      <a:pt x="1303" y="479"/>
                    </a:cubicBezTo>
                    <a:cubicBezTo>
                      <a:pt x="1296" y="482"/>
                      <a:pt x="1289" y="484"/>
                      <a:pt x="1282" y="486"/>
                    </a:cubicBezTo>
                    <a:cubicBezTo>
                      <a:pt x="1271" y="489"/>
                      <a:pt x="1261" y="492"/>
                      <a:pt x="1251" y="495"/>
                    </a:cubicBezTo>
                    <a:cubicBezTo>
                      <a:pt x="791" y="638"/>
                      <a:pt x="347" y="753"/>
                      <a:pt x="0" y="819"/>
                    </a:cubicBezTo>
                    <a:cubicBezTo>
                      <a:pt x="21" y="819"/>
                      <a:pt x="21" y="819"/>
                      <a:pt x="21" y="819"/>
                    </a:cubicBezTo>
                    <a:cubicBezTo>
                      <a:pt x="298" y="765"/>
                      <a:pt x="634" y="681"/>
                      <a:pt x="990" y="578"/>
                    </a:cubicBezTo>
                    <a:cubicBezTo>
                      <a:pt x="648" y="681"/>
                      <a:pt x="328" y="764"/>
                      <a:pt x="52" y="819"/>
                    </a:cubicBezTo>
                    <a:cubicBezTo>
                      <a:pt x="72" y="819"/>
                      <a:pt x="72" y="819"/>
                      <a:pt x="72" y="819"/>
                    </a:cubicBezTo>
                    <a:cubicBezTo>
                      <a:pt x="351" y="762"/>
                      <a:pt x="674" y="679"/>
                      <a:pt x="1018" y="573"/>
                    </a:cubicBezTo>
                    <a:cubicBezTo>
                      <a:pt x="689" y="678"/>
                      <a:pt x="377" y="762"/>
                      <a:pt x="105" y="819"/>
                    </a:cubicBezTo>
                    <a:cubicBezTo>
                      <a:pt x="124" y="819"/>
                      <a:pt x="124" y="819"/>
                      <a:pt x="124" y="819"/>
                    </a:cubicBezTo>
                    <a:cubicBezTo>
                      <a:pt x="404" y="760"/>
                      <a:pt x="724" y="672"/>
                      <a:pt x="1063" y="563"/>
                    </a:cubicBezTo>
                    <a:cubicBezTo>
                      <a:pt x="737" y="673"/>
                      <a:pt x="433" y="759"/>
                      <a:pt x="158" y="819"/>
                    </a:cubicBezTo>
                    <a:cubicBezTo>
                      <a:pt x="176" y="819"/>
                      <a:pt x="176" y="819"/>
                      <a:pt x="176" y="819"/>
                    </a:cubicBezTo>
                    <a:cubicBezTo>
                      <a:pt x="456" y="757"/>
                      <a:pt x="764" y="669"/>
                      <a:pt x="1096" y="556"/>
                    </a:cubicBezTo>
                    <a:cubicBezTo>
                      <a:pt x="776" y="670"/>
                      <a:pt x="484" y="756"/>
                      <a:pt x="211" y="819"/>
                    </a:cubicBezTo>
                    <a:cubicBezTo>
                      <a:pt x="228" y="819"/>
                      <a:pt x="228" y="819"/>
                      <a:pt x="228" y="819"/>
                    </a:cubicBezTo>
                    <a:cubicBezTo>
                      <a:pt x="507" y="754"/>
                      <a:pt x="804" y="665"/>
                      <a:pt x="1131" y="548"/>
                    </a:cubicBezTo>
                    <a:cubicBezTo>
                      <a:pt x="814" y="667"/>
                      <a:pt x="535" y="754"/>
                      <a:pt x="264" y="819"/>
                    </a:cubicBezTo>
                    <a:cubicBezTo>
                      <a:pt x="281" y="819"/>
                      <a:pt x="281" y="819"/>
                      <a:pt x="281" y="819"/>
                    </a:cubicBezTo>
                    <a:cubicBezTo>
                      <a:pt x="556" y="752"/>
                      <a:pt x="839" y="663"/>
                      <a:pt x="1161" y="541"/>
                    </a:cubicBezTo>
                    <a:cubicBezTo>
                      <a:pt x="848" y="665"/>
                      <a:pt x="583" y="752"/>
                      <a:pt x="318" y="819"/>
                    </a:cubicBezTo>
                    <a:cubicBezTo>
                      <a:pt x="334" y="819"/>
                      <a:pt x="334" y="819"/>
                      <a:pt x="334" y="819"/>
                    </a:cubicBezTo>
                    <a:cubicBezTo>
                      <a:pt x="603" y="750"/>
                      <a:pt x="873" y="660"/>
                      <a:pt x="1193" y="533"/>
                    </a:cubicBezTo>
                    <a:cubicBezTo>
                      <a:pt x="881" y="663"/>
                      <a:pt x="629" y="750"/>
                      <a:pt x="372" y="819"/>
                    </a:cubicBezTo>
                    <a:cubicBezTo>
                      <a:pt x="387" y="819"/>
                      <a:pt x="387" y="819"/>
                      <a:pt x="387" y="819"/>
                    </a:cubicBezTo>
                    <a:cubicBezTo>
                      <a:pt x="677" y="741"/>
                      <a:pt x="961" y="638"/>
                      <a:pt x="1335" y="477"/>
                    </a:cubicBezTo>
                    <a:cubicBezTo>
                      <a:pt x="1339" y="475"/>
                      <a:pt x="1342" y="474"/>
                      <a:pt x="1346" y="472"/>
                    </a:cubicBezTo>
                    <a:cubicBezTo>
                      <a:pt x="1637" y="392"/>
                      <a:pt x="2266" y="249"/>
                      <a:pt x="2660" y="217"/>
                    </a:cubicBezTo>
                    <a:cubicBezTo>
                      <a:pt x="2660" y="213"/>
                      <a:pt x="2660" y="213"/>
                      <a:pt x="2660" y="213"/>
                    </a:cubicBezTo>
                    <a:cubicBezTo>
                      <a:pt x="2310" y="241"/>
                      <a:pt x="1773" y="358"/>
                      <a:pt x="1454" y="439"/>
                    </a:cubicBezTo>
                    <a:cubicBezTo>
                      <a:pt x="1770" y="351"/>
                      <a:pt x="2312" y="219"/>
                      <a:pt x="2660" y="187"/>
                    </a:cubicBezTo>
                    <a:cubicBezTo>
                      <a:pt x="2660" y="183"/>
                      <a:pt x="2660" y="183"/>
                      <a:pt x="2660" y="183"/>
                    </a:cubicBezTo>
                    <a:cubicBezTo>
                      <a:pt x="2322" y="214"/>
                      <a:pt x="1801" y="339"/>
                      <a:pt x="1481" y="428"/>
                    </a:cubicBezTo>
                    <a:cubicBezTo>
                      <a:pt x="1796" y="333"/>
                      <a:pt x="2323" y="191"/>
                      <a:pt x="2660" y="156"/>
                    </a:cubicBezTo>
                    <a:cubicBezTo>
                      <a:pt x="2660" y="152"/>
                      <a:pt x="2660" y="152"/>
                      <a:pt x="2660" y="152"/>
                    </a:cubicBezTo>
                    <a:cubicBezTo>
                      <a:pt x="2333" y="186"/>
                      <a:pt x="1826" y="321"/>
                      <a:pt x="1509" y="415"/>
                    </a:cubicBezTo>
                    <a:cubicBezTo>
                      <a:pt x="1817" y="316"/>
                      <a:pt x="2333" y="163"/>
                      <a:pt x="2660" y="126"/>
                    </a:cubicBezTo>
                    <a:cubicBezTo>
                      <a:pt x="2660" y="122"/>
                      <a:pt x="2660" y="122"/>
                      <a:pt x="2660" y="122"/>
                    </a:cubicBezTo>
                    <a:cubicBezTo>
                      <a:pt x="2335" y="159"/>
                      <a:pt x="1823" y="310"/>
                      <a:pt x="1514" y="409"/>
                    </a:cubicBezTo>
                    <a:cubicBezTo>
                      <a:pt x="1834" y="299"/>
                      <a:pt x="2350" y="135"/>
                      <a:pt x="2660" y="95"/>
                    </a:cubicBezTo>
                    <a:cubicBezTo>
                      <a:pt x="2660" y="91"/>
                      <a:pt x="2660" y="91"/>
                      <a:pt x="2660" y="91"/>
                    </a:cubicBezTo>
                    <a:cubicBezTo>
                      <a:pt x="2361" y="129"/>
                      <a:pt x="1869" y="283"/>
                      <a:pt x="1548" y="394"/>
                    </a:cubicBezTo>
                    <a:cubicBezTo>
                      <a:pt x="1845" y="284"/>
                      <a:pt x="2354" y="108"/>
                      <a:pt x="2660" y="65"/>
                    </a:cubicBezTo>
                    <a:cubicBezTo>
                      <a:pt x="2660" y="61"/>
                      <a:pt x="2660" y="61"/>
                      <a:pt x="2660" y="61"/>
                    </a:cubicBezTo>
                    <a:cubicBezTo>
                      <a:pt x="2360" y="103"/>
                      <a:pt x="1866" y="273"/>
                      <a:pt x="1566" y="383"/>
                    </a:cubicBezTo>
                    <a:cubicBezTo>
                      <a:pt x="1874" y="262"/>
                      <a:pt x="2372" y="79"/>
                      <a:pt x="2660" y="35"/>
                    </a:cubicBezTo>
                    <a:cubicBezTo>
                      <a:pt x="2660" y="31"/>
                      <a:pt x="2660" y="31"/>
                      <a:pt x="2660" y="31"/>
                    </a:cubicBezTo>
                    <a:cubicBezTo>
                      <a:pt x="2378" y="74"/>
                      <a:pt x="1893" y="251"/>
                      <a:pt x="1584" y="371"/>
                    </a:cubicBezTo>
                    <a:cubicBezTo>
                      <a:pt x="2071" y="169"/>
                      <a:pt x="2448" y="40"/>
                      <a:pt x="2660" y="4"/>
                    </a:cubicBezTo>
                    <a:lnTo>
                      <a:pt x="266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a:p>
            </p:txBody>
          </p:sp>
        </p:grpSp>
        <p:grpSp>
          <p:nvGrpSpPr>
            <p:cNvPr id="25" name="Gruppieren 24"/>
            <p:cNvGrpSpPr/>
            <p:nvPr userDrawn="1"/>
          </p:nvGrpSpPr>
          <p:grpSpPr>
            <a:xfrm>
              <a:off x="158750" y="2279650"/>
              <a:ext cx="8616950" cy="2232025"/>
              <a:chOff x="158750" y="2279650"/>
              <a:chExt cx="8616950" cy="2232025"/>
            </a:xfrm>
            <a:solidFill>
              <a:schemeClr val="accent3"/>
            </a:solidFill>
          </p:grpSpPr>
          <p:sp>
            <p:nvSpPr>
              <p:cNvPr id="17" name="Freeform 16"/>
              <p:cNvSpPr>
                <a:spLocks/>
              </p:cNvSpPr>
              <p:nvPr userDrawn="1"/>
            </p:nvSpPr>
            <p:spPr bwMode="auto">
              <a:xfrm>
                <a:off x="158750" y="2279650"/>
                <a:ext cx="8616950" cy="2232025"/>
              </a:xfrm>
              <a:custGeom>
                <a:avLst/>
                <a:gdLst>
                  <a:gd name="T0" fmla="*/ 2298 w 2298"/>
                  <a:gd name="T1" fmla="*/ 0 h 595"/>
                  <a:gd name="T2" fmla="*/ 1148 w 2298"/>
                  <a:gd name="T3" fmla="*/ 241 h 595"/>
                  <a:gd name="T4" fmla="*/ 1018 w 2298"/>
                  <a:gd name="T5" fmla="*/ 291 h 595"/>
                  <a:gd name="T6" fmla="*/ 0 w 2298"/>
                  <a:gd name="T7" fmla="*/ 595 h 595"/>
                  <a:gd name="T8" fmla="*/ 23 w 2298"/>
                  <a:gd name="T9" fmla="*/ 595 h 595"/>
                  <a:gd name="T10" fmla="*/ 1020 w 2298"/>
                  <a:gd name="T11" fmla="*/ 295 h 595"/>
                  <a:gd name="T12" fmla="*/ 1150 w 2298"/>
                  <a:gd name="T13" fmla="*/ 245 h 595"/>
                  <a:gd name="T14" fmla="*/ 2298 w 2298"/>
                  <a:gd name="T15" fmla="*/ 4 h 595"/>
                  <a:gd name="T16" fmla="*/ 2298 w 2298"/>
                  <a:gd name="T17"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8" h="595">
                    <a:moveTo>
                      <a:pt x="2298" y="0"/>
                    </a:moveTo>
                    <a:cubicBezTo>
                      <a:pt x="1892" y="40"/>
                      <a:pt x="1366" y="159"/>
                      <a:pt x="1148" y="241"/>
                    </a:cubicBezTo>
                    <a:cubicBezTo>
                      <a:pt x="1104" y="258"/>
                      <a:pt x="1061" y="275"/>
                      <a:pt x="1018" y="291"/>
                    </a:cubicBezTo>
                    <a:cubicBezTo>
                      <a:pt x="693" y="415"/>
                      <a:pt x="408" y="523"/>
                      <a:pt x="0" y="595"/>
                    </a:cubicBezTo>
                    <a:cubicBezTo>
                      <a:pt x="23" y="595"/>
                      <a:pt x="23" y="595"/>
                      <a:pt x="23" y="595"/>
                    </a:cubicBezTo>
                    <a:cubicBezTo>
                      <a:pt x="419" y="523"/>
                      <a:pt x="700" y="416"/>
                      <a:pt x="1020" y="295"/>
                    </a:cubicBezTo>
                    <a:cubicBezTo>
                      <a:pt x="1062" y="278"/>
                      <a:pt x="1105" y="262"/>
                      <a:pt x="1150" y="245"/>
                    </a:cubicBezTo>
                    <a:cubicBezTo>
                      <a:pt x="1342" y="173"/>
                      <a:pt x="1871" y="46"/>
                      <a:pt x="2298" y="4"/>
                    </a:cubicBezTo>
                    <a:lnTo>
                      <a:pt x="22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8" name="Freeform 17"/>
              <p:cNvSpPr>
                <a:spLocks/>
              </p:cNvSpPr>
              <p:nvPr userDrawn="1"/>
            </p:nvSpPr>
            <p:spPr bwMode="auto">
              <a:xfrm>
                <a:off x="260350" y="2455863"/>
                <a:ext cx="8515350" cy="2055812"/>
              </a:xfrm>
              <a:custGeom>
                <a:avLst/>
                <a:gdLst>
                  <a:gd name="T0" fmla="*/ 2271 w 2271"/>
                  <a:gd name="T1" fmla="*/ 0 h 548"/>
                  <a:gd name="T2" fmla="*/ 1129 w 2271"/>
                  <a:gd name="T3" fmla="*/ 207 h 548"/>
                  <a:gd name="T4" fmla="*/ 1009 w 2271"/>
                  <a:gd name="T5" fmla="*/ 252 h 548"/>
                  <a:gd name="T6" fmla="*/ 0 w 2271"/>
                  <a:gd name="T7" fmla="*/ 548 h 548"/>
                  <a:gd name="T8" fmla="*/ 0 w 2271"/>
                  <a:gd name="T9" fmla="*/ 548 h 548"/>
                  <a:gd name="T10" fmla="*/ 22 w 2271"/>
                  <a:gd name="T11" fmla="*/ 548 h 548"/>
                  <a:gd name="T12" fmla="*/ 1011 w 2271"/>
                  <a:gd name="T13" fmla="*/ 256 h 548"/>
                  <a:gd name="T14" fmla="*/ 1130 w 2271"/>
                  <a:gd name="T15" fmla="*/ 211 h 548"/>
                  <a:gd name="T16" fmla="*/ 2271 w 2271"/>
                  <a:gd name="T17" fmla="*/ 4 h 548"/>
                  <a:gd name="T18" fmla="*/ 2271 w 2271"/>
                  <a:gd name="T1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1" h="548">
                    <a:moveTo>
                      <a:pt x="2271" y="0"/>
                    </a:moveTo>
                    <a:cubicBezTo>
                      <a:pt x="1869" y="21"/>
                      <a:pt x="1346" y="126"/>
                      <a:pt x="1129" y="207"/>
                    </a:cubicBezTo>
                    <a:cubicBezTo>
                      <a:pt x="1088" y="222"/>
                      <a:pt x="1048" y="237"/>
                      <a:pt x="1009" y="252"/>
                    </a:cubicBezTo>
                    <a:cubicBezTo>
                      <a:pt x="676" y="378"/>
                      <a:pt x="413" y="477"/>
                      <a:pt x="0" y="548"/>
                    </a:cubicBezTo>
                    <a:cubicBezTo>
                      <a:pt x="0" y="548"/>
                      <a:pt x="0" y="548"/>
                      <a:pt x="0" y="548"/>
                    </a:cubicBezTo>
                    <a:cubicBezTo>
                      <a:pt x="22" y="548"/>
                      <a:pt x="22" y="548"/>
                      <a:pt x="22" y="548"/>
                    </a:cubicBezTo>
                    <a:cubicBezTo>
                      <a:pt x="423" y="477"/>
                      <a:pt x="683" y="379"/>
                      <a:pt x="1011" y="256"/>
                    </a:cubicBezTo>
                    <a:cubicBezTo>
                      <a:pt x="1049" y="241"/>
                      <a:pt x="1089" y="226"/>
                      <a:pt x="1130" y="211"/>
                    </a:cubicBezTo>
                    <a:cubicBezTo>
                      <a:pt x="1348" y="130"/>
                      <a:pt x="1869" y="25"/>
                      <a:pt x="2271" y="4"/>
                    </a:cubicBezTo>
                    <a:lnTo>
                      <a:pt x="2271"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9" name="Freeform 18"/>
              <p:cNvSpPr>
                <a:spLocks/>
              </p:cNvSpPr>
              <p:nvPr userDrawn="1"/>
            </p:nvSpPr>
            <p:spPr bwMode="auto">
              <a:xfrm>
                <a:off x="360362" y="2628900"/>
                <a:ext cx="8415338" cy="1882775"/>
              </a:xfrm>
              <a:custGeom>
                <a:avLst/>
                <a:gdLst>
                  <a:gd name="T0" fmla="*/ 2244 w 2244"/>
                  <a:gd name="T1" fmla="*/ 0 h 502"/>
                  <a:gd name="T2" fmla="*/ 1109 w 2244"/>
                  <a:gd name="T3" fmla="*/ 173 h 502"/>
                  <a:gd name="T4" fmla="*/ 1000 w 2244"/>
                  <a:gd name="T5" fmla="*/ 214 h 502"/>
                  <a:gd name="T6" fmla="*/ 0 w 2244"/>
                  <a:gd name="T7" fmla="*/ 502 h 502"/>
                  <a:gd name="T8" fmla="*/ 24 w 2244"/>
                  <a:gd name="T9" fmla="*/ 502 h 502"/>
                  <a:gd name="T10" fmla="*/ 1002 w 2244"/>
                  <a:gd name="T11" fmla="*/ 218 h 502"/>
                  <a:gd name="T12" fmla="*/ 1110 w 2244"/>
                  <a:gd name="T13" fmla="*/ 177 h 502"/>
                  <a:gd name="T14" fmla="*/ 2244 w 2244"/>
                  <a:gd name="T15" fmla="*/ 4 h 502"/>
                  <a:gd name="T16" fmla="*/ 2244 w 2244"/>
                  <a:gd name="T17"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4" h="502">
                    <a:moveTo>
                      <a:pt x="2244" y="0"/>
                    </a:moveTo>
                    <a:cubicBezTo>
                      <a:pt x="1842" y="1"/>
                      <a:pt x="1333" y="91"/>
                      <a:pt x="1109" y="173"/>
                    </a:cubicBezTo>
                    <a:cubicBezTo>
                      <a:pt x="1072" y="187"/>
                      <a:pt x="1035" y="201"/>
                      <a:pt x="1000" y="214"/>
                    </a:cubicBezTo>
                    <a:cubicBezTo>
                      <a:pt x="675" y="336"/>
                      <a:pt x="418" y="432"/>
                      <a:pt x="0" y="502"/>
                    </a:cubicBezTo>
                    <a:cubicBezTo>
                      <a:pt x="24" y="502"/>
                      <a:pt x="24" y="502"/>
                      <a:pt x="24" y="502"/>
                    </a:cubicBezTo>
                    <a:cubicBezTo>
                      <a:pt x="428" y="432"/>
                      <a:pt x="682" y="337"/>
                      <a:pt x="1002" y="218"/>
                    </a:cubicBezTo>
                    <a:cubicBezTo>
                      <a:pt x="1037" y="204"/>
                      <a:pt x="1073" y="191"/>
                      <a:pt x="1110" y="177"/>
                    </a:cubicBezTo>
                    <a:cubicBezTo>
                      <a:pt x="1334" y="95"/>
                      <a:pt x="1842" y="5"/>
                      <a:pt x="2244" y="4"/>
                    </a:cubicBezTo>
                    <a:lnTo>
                      <a:pt x="2244"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0" name="Freeform 19"/>
              <p:cNvSpPr>
                <a:spLocks/>
              </p:cNvSpPr>
              <p:nvPr userDrawn="1"/>
            </p:nvSpPr>
            <p:spPr bwMode="auto">
              <a:xfrm>
                <a:off x="481012" y="2736850"/>
                <a:ext cx="8294688" cy="1774825"/>
              </a:xfrm>
              <a:custGeom>
                <a:avLst/>
                <a:gdLst>
                  <a:gd name="T0" fmla="*/ 2212 w 2212"/>
                  <a:gd name="T1" fmla="*/ 16 h 473"/>
                  <a:gd name="T2" fmla="*/ 1084 w 2212"/>
                  <a:gd name="T3" fmla="*/ 157 h 473"/>
                  <a:gd name="T4" fmla="*/ 986 w 2212"/>
                  <a:gd name="T5" fmla="*/ 193 h 473"/>
                  <a:gd name="T6" fmla="*/ 0 w 2212"/>
                  <a:gd name="T7" fmla="*/ 472 h 473"/>
                  <a:gd name="T8" fmla="*/ 0 w 2212"/>
                  <a:gd name="T9" fmla="*/ 473 h 473"/>
                  <a:gd name="T10" fmla="*/ 20 w 2212"/>
                  <a:gd name="T11" fmla="*/ 473 h 473"/>
                  <a:gd name="T12" fmla="*/ 988 w 2212"/>
                  <a:gd name="T13" fmla="*/ 197 h 473"/>
                  <a:gd name="T14" fmla="*/ 1085 w 2212"/>
                  <a:gd name="T15" fmla="*/ 161 h 473"/>
                  <a:gd name="T16" fmla="*/ 2212 w 2212"/>
                  <a:gd name="T17" fmla="*/ 20 h 473"/>
                  <a:gd name="T18" fmla="*/ 2212 w 2212"/>
                  <a:gd name="T19" fmla="*/ 1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2" h="473">
                    <a:moveTo>
                      <a:pt x="2212" y="16"/>
                    </a:moveTo>
                    <a:cubicBezTo>
                      <a:pt x="1854" y="0"/>
                      <a:pt x="1338" y="64"/>
                      <a:pt x="1084" y="157"/>
                    </a:cubicBezTo>
                    <a:cubicBezTo>
                      <a:pt x="1050" y="169"/>
                      <a:pt x="1018" y="181"/>
                      <a:pt x="986" y="193"/>
                    </a:cubicBezTo>
                    <a:cubicBezTo>
                      <a:pt x="669" y="310"/>
                      <a:pt x="419" y="403"/>
                      <a:pt x="0" y="472"/>
                    </a:cubicBezTo>
                    <a:cubicBezTo>
                      <a:pt x="0" y="473"/>
                      <a:pt x="0" y="473"/>
                      <a:pt x="0" y="473"/>
                    </a:cubicBezTo>
                    <a:cubicBezTo>
                      <a:pt x="20" y="473"/>
                      <a:pt x="20" y="473"/>
                      <a:pt x="20" y="473"/>
                    </a:cubicBezTo>
                    <a:cubicBezTo>
                      <a:pt x="428" y="404"/>
                      <a:pt x="676" y="312"/>
                      <a:pt x="988" y="197"/>
                    </a:cubicBezTo>
                    <a:cubicBezTo>
                      <a:pt x="1019" y="185"/>
                      <a:pt x="1052" y="173"/>
                      <a:pt x="1085" y="161"/>
                    </a:cubicBezTo>
                    <a:cubicBezTo>
                      <a:pt x="1339" y="68"/>
                      <a:pt x="1855" y="4"/>
                      <a:pt x="2212" y="20"/>
                    </a:cubicBezTo>
                    <a:lnTo>
                      <a:pt x="2212"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1" name="Freeform 20"/>
              <p:cNvSpPr>
                <a:spLocks/>
              </p:cNvSpPr>
              <p:nvPr userDrawn="1"/>
            </p:nvSpPr>
            <p:spPr bwMode="auto">
              <a:xfrm>
                <a:off x="577850" y="2830513"/>
                <a:ext cx="8197850" cy="1681162"/>
              </a:xfrm>
              <a:custGeom>
                <a:avLst/>
                <a:gdLst>
                  <a:gd name="T0" fmla="*/ 2186 w 2186"/>
                  <a:gd name="T1" fmla="*/ 36 h 448"/>
                  <a:gd name="T2" fmla="*/ 1065 w 2186"/>
                  <a:gd name="T3" fmla="*/ 145 h 448"/>
                  <a:gd name="T4" fmla="*/ 978 w 2186"/>
                  <a:gd name="T5" fmla="*/ 176 h 448"/>
                  <a:gd name="T6" fmla="*/ 0 w 2186"/>
                  <a:gd name="T7" fmla="*/ 448 h 448"/>
                  <a:gd name="T8" fmla="*/ 24 w 2186"/>
                  <a:gd name="T9" fmla="*/ 448 h 448"/>
                  <a:gd name="T10" fmla="*/ 980 w 2186"/>
                  <a:gd name="T11" fmla="*/ 180 h 448"/>
                  <a:gd name="T12" fmla="*/ 1066 w 2186"/>
                  <a:gd name="T13" fmla="*/ 148 h 448"/>
                  <a:gd name="T14" fmla="*/ 2186 w 2186"/>
                  <a:gd name="T15" fmla="*/ 40 h 448"/>
                  <a:gd name="T16" fmla="*/ 2186 w 2186"/>
                  <a:gd name="T17" fmla="*/ 3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6" h="448">
                    <a:moveTo>
                      <a:pt x="2186" y="36"/>
                    </a:moveTo>
                    <a:cubicBezTo>
                      <a:pt x="1830" y="0"/>
                      <a:pt x="1328" y="49"/>
                      <a:pt x="1065" y="145"/>
                    </a:cubicBezTo>
                    <a:cubicBezTo>
                      <a:pt x="1035" y="155"/>
                      <a:pt x="1006" y="166"/>
                      <a:pt x="978" y="176"/>
                    </a:cubicBezTo>
                    <a:cubicBezTo>
                      <a:pt x="657" y="294"/>
                      <a:pt x="424" y="380"/>
                      <a:pt x="0" y="448"/>
                    </a:cubicBezTo>
                    <a:cubicBezTo>
                      <a:pt x="24" y="448"/>
                      <a:pt x="24" y="448"/>
                      <a:pt x="24" y="448"/>
                    </a:cubicBezTo>
                    <a:cubicBezTo>
                      <a:pt x="434" y="380"/>
                      <a:pt x="664" y="296"/>
                      <a:pt x="980" y="180"/>
                    </a:cubicBezTo>
                    <a:cubicBezTo>
                      <a:pt x="1008" y="170"/>
                      <a:pt x="1037" y="159"/>
                      <a:pt x="1066" y="148"/>
                    </a:cubicBezTo>
                    <a:cubicBezTo>
                      <a:pt x="1329" y="53"/>
                      <a:pt x="1831" y="4"/>
                      <a:pt x="2186" y="40"/>
                    </a:cubicBezTo>
                    <a:lnTo>
                      <a:pt x="218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Freeform 21"/>
              <p:cNvSpPr>
                <a:spLocks/>
              </p:cNvSpPr>
              <p:nvPr userDrawn="1"/>
            </p:nvSpPr>
            <p:spPr bwMode="auto">
              <a:xfrm>
                <a:off x="690562" y="2940050"/>
                <a:ext cx="8085138" cy="1571625"/>
              </a:xfrm>
              <a:custGeom>
                <a:avLst/>
                <a:gdLst>
                  <a:gd name="T0" fmla="*/ 2156 w 2156"/>
                  <a:gd name="T1" fmla="*/ 51 h 419"/>
                  <a:gd name="T2" fmla="*/ 1568 w 2156"/>
                  <a:gd name="T3" fmla="*/ 33 h 419"/>
                  <a:gd name="T4" fmla="*/ 1042 w 2156"/>
                  <a:gd name="T5" fmla="*/ 128 h 419"/>
                  <a:gd name="T6" fmla="*/ 967 w 2156"/>
                  <a:gd name="T7" fmla="*/ 155 h 419"/>
                  <a:gd name="T8" fmla="*/ 0 w 2156"/>
                  <a:gd name="T9" fmla="*/ 419 h 419"/>
                  <a:gd name="T10" fmla="*/ 26 w 2156"/>
                  <a:gd name="T11" fmla="*/ 419 h 419"/>
                  <a:gd name="T12" fmla="*/ 968 w 2156"/>
                  <a:gd name="T13" fmla="*/ 159 h 419"/>
                  <a:gd name="T14" fmla="*/ 1043 w 2156"/>
                  <a:gd name="T15" fmla="*/ 132 h 419"/>
                  <a:gd name="T16" fmla="*/ 2156 w 2156"/>
                  <a:gd name="T17" fmla="*/ 55 h 419"/>
                  <a:gd name="T18" fmla="*/ 2156 w 2156"/>
                  <a:gd name="T19" fmla="*/ 5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6" h="419">
                    <a:moveTo>
                      <a:pt x="2156" y="51"/>
                    </a:moveTo>
                    <a:cubicBezTo>
                      <a:pt x="1986" y="24"/>
                      <a:pt x="1777" y="18"/>
                      <a:pt x="1568" y="33"/>
                    </a:cubicBezTo>
                    <a:cubicBezTo>
                      <a:pt x="1359" y="47"/>
                      <a:pt x="1172" y="81"/>
                      <a:pt x="1042" y="128"/>
                    </a:cubicBezTo>
                    <a:cubicBezTo>
                      <a:pt x="1016" y="137"/>
                      <a:pt x="991" y="147"/>
                      <a:pt x="967" y="155"/>
                    </a:cubicBezTo>
                    <a:cubicBezTo>
                      <a:pt x="641" y="274"/>
                      <a:pt x="426" y="352"/>
                      <a:pt x="0" y="419"/>
                    </a:cubicBezTo>
                    <a:cubicBezTo>
                      <a:pt x="26" y="419"/>
                      <a:pt x="26" y="419"/>
                      <a:pt x="26" y="419"/>
                    </a:cubicBezTo>
                    <a:cubicBezTo>
                      <a:pt x="435" y="353"/>
                      <a:pt x="649" y="275"/>
                      <a:pt x="968" y="159"/>
                    </a:cubicBezTo>
                    <a:cubicBezTo>
                      <a:pt x="993" y="150"/>
                      <a:pt x="1018" y="141"/>
                      <a:pt x="1043" y="132"/>
                    </a:cubicBezTo>
                    <a:cubicBezTo>
                      <a:pt x="1315" y="34"/>
                      <a:pt x="1804" y="0"/>
                      <a:pt x="2156" y="55"/>
                    </a:cubicBezTo>
                    <a:lnTo>
                      <a:pt x="2156" y="5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3" name="Freeform 22"/>
              <p:cNvSpPr>
                <a:spLocks/>
              </p:cNvSpPr>
              <p:nvPr userDrawn="1"/>
            </p:nvSpPr>
            <p:spPr bwMode="auto">
              <a:xfrm>
                <a:off x="811212" y="3017838"/>
                <a:ext cx="7964488" cy="1493837"/>
              </a:xfrm>
              <a:custGeom>
                <a:avLst/>
                <a:gdLst>
                  <a:gd name="T0" fmla="*/ 2124 w 2124"/>
                  <a:gd name="T1" fmla="*/ 73 h 398"/>
                  <a:gd name="T2" fmla="*/ 1017 w 2124"/>
                  <a:gd name="T3" fmla="*/ 120 h 398"/>
                  <a:gd name="T4" fmla="*/ 953 w 2124"/>
                  <a:gd name="T5" fmla="*/ 143 h 398"/>
                  <a:gd name="T6" fmla="*/ 0 w 2124"/>
                  <a:gd name="T7" fmla="*/ 398 h 398"/>
                  <a:gd name="T8" fmla="*/ 26 w 2124"/>
                  <a:gd name="T9" fmla="*/ 398 h 398"/>
                  <a:gd name="T10" fmla="*/ 955 w 2124"/>
                  <a:gd name="T11" fmla="*/ 146 h 398"/>
                  <a:gd name="T12" fmla="*/ 1019 w 2124"/>
                  <a:gd name="T13" fmla="*/ 123 h 398"/>
                  <a:gd name="T14" fmla="*/ 2124 w 2124"/>
                  <a:gd name="T15" fmla="*/ 77 h 398"/>
                  <a:gd name="T16" fmla="*/ 2124 w 2124"/>
                  <a:gd name="T17" fmla="*/ 7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4" h="398">
                    <a:moveTo>
                      <a:pt x="2124" y="73"/>
                    </a:moveTo>
                    <a:cubicBezTo>
                      <a:pt x="1780" y="0"/>
                      <a:pt x="1295" y="20"/>
                      <a:pt x="1017" y="120"/>
                    </a:cubicBezTo>
                    <a:cubicBezTo>
                      <a:pt x="995" y="127"/>
                      <a:pt x="974" y="135"/>
                      <a:pt x="953" y="143"/>
                    </a:cubicBezTo>
                    <a:cubicBezTo>
                      <a:pt x="636" y="257"/>
                      <a:pt x="426" y="333"/>
                      <a:pt x="0" y="398"/>
                    </a:cubicBezTo>
                    <a:cubicBezTo>
                      <a:pt x="26" y="398"/>
                      <a:pt x="26" y="398"/>
                      <a:pt x="26" y="398"/>
                    </a:cubicBezTo>
                    <a:cubicBezTo>
                      <a:pt x="435" y="334"/>
                      <a:pt x="643" y="259"/>
                      <a:pt x="955" y="146"/>
                    </a:cubicBezTo>
                    <a:cubicBezTo>
                      <a:pt x="975" y="139"/>
                      <a:pt x="997" y="131"/>
                      <a:pt x="1019" y="123"/>
                    </a:cubicBezTo>
                    <a:cubicBezTo>
                      <a:pt x="1296" y="24"/>
                      <a:pt x="1781" y="4"/>
                      <a:pt x="2124" y="77"/>
                    </a:cubicBezTo>
                    <a:lnTo>
                      <a:pt x="2124" y="7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4" name="Freeform 23"/>
              <p:cNvSpPr>
                <a:spLocks/>
              </p:cNvSpPr>
              <p:nvPr userDrawn="1"/>
            </p:nvSpPr>
            <p:spPr bwMode="auto">
              <a:xfrm>
                <a:off x="935037" y="3124200"/>
                <a:ext cx="7840663" cy="1387475"/>
              </a:xfrm>
              <a:custGeom>
                <a:avLst/>
                <a:gdLst>
                  <a:gd name="T0" fmla="*/ 2091 w 2091"/>
                  <a:gd name="T1" fmla="*/ 87 h 370"/>
                  <a:gd name="T2" fmla="*/ 1528 w 2091"/>
                  <a:gd name="T3" fmla="*/ 23 h 370"/>
                  <a:gd name="T4" fmla="*/ 991 w 2091"/>
                  <a:gd name="T5" fmla="*/ 104 h 370"/>
                  <a:gd name="T6" fmla="*/ 939 w 2091"/>
                  <a:gd name="T7" fmla="*/ 123 h 370"/>
                  <a:gd name="T8" fmla="*/ 0 w 2091"/>
                  <a:gd name="T9" fmla="*/ 370 h 370"/>
                  <a:gd name="T10" fmla="*/ 27 w 2091"/>
                  <a:gd name="T11" fmla="*/ 370 h 370"/>
                  <a:gd name="T12" fmla="*/ 940 w 2091"/>
                  <a:gd name="T13" fmla="*/ 127 h 370"/>
                  <a:gd name="T14" fmla="*/ 993 w 2091"/>
                  <a:gd name="T15" fmla="*/ 108 h 370"/>
                  <a:gd name="T16" fmla="*/ 2091 w 2091"/>
                  <a:gd name="T17" fmla="*/ 91 h 370"/>
                  <a:gd name="T18" fmla="*/ 2091 w 2091"/>
                  <a:gd name="T19" fmla="*/ 8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1" h="370">
                    <a:moveTo>
                      <a:pt x="2091" y="87"/>
                    </a:moveTo>
                    <a:cubicBezTo>
                      <a:pt x="1930" y="43"/>
                      <a:pt x="1730" y="20"/>
                      <a:pt x="1528" y="23"/>
                    </a:cubicBezTo>
                    <a:cubicBezTo>
                      <a:pt x="1322" y="25"/>
                      <a:pt x="1131" y="54"/>
                      <a:pt x="991" y="104"/>
                    </a:cubicBezTo>
                    <a:cubicBezTo>
                      <a:pt x="939" y="123"/>
                      <a:pt x="939" y="123"/>
                      <a:pt x="939" y="123"/>
                    </a:cubicBezTo>
                    <a:cubicBezTo>
                      <a:pt x="618" y="237"/>
                      <a:pt x="424" y="306"/>
                      <a:pt x="0" y="370"/>
                    </a:cubicBezTo>
                    <a:cubicBezTo>
                      <a:pt x="27" y="370"/>
                      <a:pt x="27" y="370"/>
                      <a:pt x="27" y="370"/>
                    </a:cubicBezTo>
                    <a:cubicBezTo>
                      <a:pt x="433" y="307"/>
                      <a:pt x="626" y="239"/>
                      <a:pt x="940" y="127"/>
                    </a:cubicBezTo>
                    <a:cubicBezTo>
                      <a:pt x="993" y="108"/>
                      <a:pt x="993" y="108"/>
                      <a:pt x="993" y="108"/>
                    </a:cubicBezTo>
                    <a:cubicBezTo>
                      <a:pt x="1276" y="7"/>
                      <a:pt x="1757" y="0"/>
                      <a:pt x="2091" y="91"/>
                    </a:cubicBezTo>
                    <a:lnTo>
                      <a:pt x="2091" y="8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grpSp>
      </p:grpSp>
      <p:sp>
        <p:nvSpPr>
          <p:cNvPr id="2" name="Title 1"/>
          <p:cNvSpPr>
            <a:spLocks noGrp="1"/>
          </p:cNvSpPr>
          <p:nvPr userDrawn="1">
            <p:ph type="ctrTitle" hasCustomPrompt="1"/>
          </p:nvPr>
        </p:nvSpPr>
        <p:spPr>
          <a:xfrm>
            <a:off x="723900" y="531689"/>
            <a:ext cx="6546268" cy="1354262"/>
          </a:xfrm>
          <a:prstGeom prst="rect">
            <a:avLst/>
          </a:prstGeom>
        </p:spPr>
        <p:txBody>
          <a:bodyPr lIns="0" tIns="22677" rIns="0" bIns="22677" anchor="b">
            <a:normAutofit/>
          </a:bodyPr>
          <a:lstStyle>
            <a:lvl1pPr algn="l">
              <a:defRPr sz="2000">
                <a:solidFill>
                  <a:srgbClr val="4D4D4D"/>
                </a:solidFill>
                <a:latin typeface="+mj-lt"/>
                <a:cs typeface="Calibri" panose="020B0604020202020204" pitchFamily="34" charset="0"/>
              </a:defRPr>
            </a:lvl1pPr>
          </a:lstStyle>
          <a:p>
            <a:r>
              <a:rPr lang="en-US" noProof="0"/>
              <a:t>Click to edit Master title style</a:t>
            </a:r>
          </a:p>
        </p:txBody>
      </p:sp>
      <p:sp>
        <p:nvSpPr>
          <p:cNvPr id="3" name="Subtitle 2"/>
          <p:cNvSpPr>
            <a:spLocks noGrp="1"/>
          </p:cNvSpPr>
          <p:nvPr userDrawn="1">
            <p:ph type="subTitle" idx="1" hasCustomPrompt="1"/>
          </p:nvPr>
        </p:nvSpPr>
        <p:spPr>
          <a:xfrm>
            <a:off x="723900" y="1947916"/>
            <a:ext cx="6544800" cy="1162229"/>
          </a:xfrm>
          <a:prstGeom prst="rect">
            <a:avLst/>
          </a:prstGeom>
        </p:spPr>
        <p:txBody>
          <a:bodyPr lIns="0" tIns="22677" rIns="0" bIns="22677">
            <a:normAutofit/>
          </a:bodyPr>
          <a:lstStyle>
            <a:lvl1pPr marL="0" indent="0" algn="l">
              <a:spcBef>
                <a:spcPts val="400"/>
              </a:spcBef>
              <a:buNone/>
              <a:defRPr sz="2800">
                <a:solidFill>
                  <a:srgbClr val="4D4D4D"/>
                </a:solidFill>
                <a:latin typeface="+mj-lt"/>
                <a:cs typeface="Calibri" panose="020B0604020202020204" pitchFamily="34" charset="0"/>
              </a:defRPr>
            </a:lvl1pPr>
            <a:lvl2pPr marL="408188" indent="0" algn="ctr">
              <a:buNone/>
              <a:defRPr>
                <a:solidFill>
                  <a:schemeClr val="tx1">
                    <a:tint val="75000"/>
                  </a:schemeClr>
                </a:solidFill>
              </a:defRPr>
            </a:lvl2pPr>
            <a:lvl3pPr marL="816376" indent="0" algn="ctr">
              <a:buNone/>
              <a:defRPr>
                <a:solidFill>
                  <a:schemeClr val="tx1">
                    <a:tint val="75000"/>
                  </a:schemeClr>
                </a:solidFill>
              </a:defRPr>
            </a:lvl3pPr>
            <a:lvl4pPr marL="1224564" indent="0" algn="ctr">
              <a:buNone/>
              <a:defRPr>
                <a:solidFill>
                  <a:schemeClr val="tx1">
                    <a:tint val="75000"/>
                  </a:schemeClr>
                </a:solidFill>
              </a:defRPr>
            </a:lvl4pPr>
            <a:lvl5pPr marL="1632753" indent="0" algn="ctr">
              <a:buNone/>
              <a:defRPr>
                <a:solidFill>
                  <a:schemeClr val="tx1">
                    <a:tint val="75000"/>
                  </a:schemeClr>
                </a:solidFill>
              </a:defRPr>
            </a:lvl5pPr>
            <a:lvl6pPr marL="2040941" indent="0" algn="ctr">
              <a:buNone/>
              <a:defRPr>
                <a:solidFill>
                  <a:schemeClr val="tx1">
                    <a:tint val="75000"/>
                  </a:schemeClr>
                </a:solidFill>
              </a:defRPr>
            </a:lvl6pPr>
            <a:lvl7pPr marL="2449129" indent="0" algn="ctr">
              <a:buNone/>
              <a:defRPr>
                <a:solidFill>
                  <a:schemeClr val="tx1">
                    <a:tint val="75000"/>
                  </a:schemeClr>
                </a:solidFill>
              </a:defRPr>
            </a:lvl7pPr>
            <a:lvl8pPr marL="2857317" indent="0" algn="ctr">
              <a:buNone/>
              <a:defRPr>
                <a:solidFill>
                  <a:schemeClr val="tx1">
                    <a:tint val="75000"/>
                  </a:schemeClr>
                </a:solidFill>
              </a:defRPr>
            </a:lvl8pPr>
            <a:lvl9pPr marL="3265505" indent="0" algn="ctr">
              <a:buNone/>
              <a:defRPr>
                <a:solidFill>
                  <a:schemeClr val="tx1">
                    <a:tint val="75000"/>
                  </a:schemeClr>
                </a:solidFill>
              </a:defRPr>
            </a:lvl9pPr>
          </a:lstStyle>
          <a:p>
            <a:r>
              <a:rPr lang="en-US" noProof="0"/>
              <a:t>Click to edit Master subtitle style</a:t>
            </a:r>
          </a:p>
        </p:txBody>
      </p:sp>
      <p:cxnSp>
        <p:nvCxnSpPr>
          <p:cNvPr id="279" name="Straight Connector 7"/>
          <p:cNvCxnSpPr/>
          <p:nvPr userDrawn="1"/>
        </p:nvCxnSpPr>
        <p:spPr>
          <a:xfrm>
            <a:off x="723900" y="1882544"/>
            <a:ext cx="653796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31" name="Foliennummernplatzhalter 30"/>
          <p:cNvSpPr>
            <a:spLocks noGrp="1"/>
          </p:cNvSpPr>
          <p:nvPr>
            <p:ph type="sldNum" sz="quarter" idx="11"/>
          </p:nvPr>
        </p:nvSpPr>
        <p:spPr/>
        <p:txBody>
          <a:bodyPr/>
          <a:lstStyle/>
          <a:p>
            <a:fld id="{90223409-09FC-4660-A923-5454ABA2BCF5}" type="slidenum">
              <a:rPr lang="en-US" noProof="0" smtClean="0"/>
              <a:pPr/>
              <a:t>‹#›</a:t>
            </a:fld>
            <a:endParaRPr lang="en-US" noProof="0"/>
          </a:p>
        </p:txBody>
      </p:sp>
      <p:sp>
        <p:nvSpPr>
          <p:cNvPr id="35" name="Fußzeilenplatzhalter 3"/>
          <p:cNvSpPr>
            <a:spLocks noGrp="1"/>
          </p:cNvSpPr>
          <p:nvPr>
            <p:ph type="ftr" sz="quarter" idx="10"/>
          </p:nvPr>
        </p:nvSpPr>
        <p:spPr>
          <a:xfrm>
            <a:off x="723900" y="3764451"/>
            <a:ext cx="3448957" cy="273844"/>
          </a:xfrm>
          <a:prstGeom prst="rect">
            <a:avLst/>
          </a:prstGeom>
        </p:spPr>
        <p:txBody>
          <a:bodyPr/>
          <a:lstStyle>
            <a:lvl1pPr>
              <a:defRPr sz="1200"/>
            </a:lvl1pPr>
          </a:lstStyle>
          <a:p>
            <a:pPr algn="l"/>
            <a:r>
              <a:rPr lang="en-US" noProof="0"/>
              <a:t>internal / external/ confidential </a:t>
            </a:r>
          </a:p>
        </p:txBody>
      </p:sp>
      <p:pic>
        <p:nvPicPr>
          <p:cNvPr id="36" name="Picture 16" descr="C:\Users\DALLA2\AppData\Local\Temp\PKE5E3.tmp\Celanese new logo_color 4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26611" y="283168"/>
            <a:ext cx="1530489" cy="45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5405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imple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Titelmasterformat durch Klicken bearbeiten</a:t>
            </a:r>
          </a:p>
        </p:txBody>
      </p:sp>
      <p:sp>
        <p:nvSpPr>
          <p:cNvPr id="8" name="Inhaltsplatzhalter 7"/>
          <p:cNvSpPr>
            <a:spLocks noGrp="1"/>
          </p:cNvSpPr>
          <p:nvPr>
            <p:ph sz="quarter" idx="13" hasCustomPrompt="1"/>
          </p:nvPr>
        </p:nvSpPr>
        <p:spPr>
          <a:xfrm>
            <a:off x="381000" y="895350"/>
            <a:ext cx="8382000" cy="3810000"/>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3" name="Fußzeilenplatzhalter 2"/>
          <p:cNvSpPr>
            <a:spLocks noGrp="1"/>
          </p:cNvSpPr>
          <p:nvPr>
            <p:ph type="ftr" sz="quarter" idx="14"/>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5"/>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1700642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Titelmasterformat durch Klicken bearbeiten</a:t>
            </a:r>
          </a:p>
        </p:txBody>
      </p:sp>
      <p:sp>
        <p:nvSpPr>
          <p:cNvPr id="8" name="Inhaltsplatzhalter 7"/>
          <p:cNvSpPr>
            <a:spLocks noGrp="1"/>
          </p:cNvSpPr>
          <p:nvPr>
            <p:ph sz="quarter" idx="13" hasCustomPrompt="1"/>
          </p:nvPr>
        </p:nvSpPr>
        <p:spPr>
          <a:xfrm>
            <a:off x="380999" y="895350"/>
            <a:ext cx="4104000" cy="3810000"/>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Inhaltsplatzhalter 6"/>
          <p:cNvSpPr>
            <a:spLocks noGrp="1"/>
          </p:cNvSpPr>
          <p:nvPr>
            <p:ph sz="quarter" idx="14" hasCustomPrompt="1"/>
          </p:nvPr>
        </p:nvSpPr>
        <p:spPr>
          <a:xfrm>
            <a:off x="4659000" y="895351"/>
            <a:ext cx="4104000" cy="3809700"/>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3" name="Fußzeilenplatzhalter 2"/>
          <p:cNvSpPr>
            <a:spLocks noGrp="1"/>
          </p:cNvSpPr>
          <p:nvPr>
            <p:ph type="ftr" sz="quarter" idx="15"/>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6"/>
          </p:nvPr>
        </p:nvSpPr>
        <p:spPr/>
        <p:txBody>
          <a:bodyPr/>
          <a:lstStyle/>
          <a:p>
            <a:fld id="{90223409-09FC-4660-A923-5454ABA2BCF5}" type="slidenum">
              <a:rPr lang="en-US" noProof="0" smtClean="0"/>
              <a:pPr/>
              <a:t>‹#›</a:t>
            </a:fld>
            <a:endParaRPr lang="en-US" noProof="0"/>
          </a:p>
        </p:txBody>
      </p:sp>
      <p:cxnSp>
        <p:nvCxnSpPr>
          <p:cNvPr id="10" name="Straight Connector 6">
            <a:extLst>
              <a:ext uri="{FF2B5EF4-FFF2-40B4-BE49-F238E27FC236}">
                <a16:creationId xmlns:a16="http://schemas.microsoft.com/office/drawing/2014/main" id="{DB89DCF0-1DAD-40CC-89DA-96E5D9101774}"/>
              </a:ext>
            </a:extLst>
          </p:cNvPr>
          <p:cNvCxnSpPr/>
          <p:nvPr userDrawn="1"/>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85084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imple slide with sub headline">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381000" y="895351"/>
            <a:ext cx="8382000" cy="421141"/>
          </a:xfrm>
          <a:prstGeom prst="rect">
            <a:avLst/>
          </a:prstGeom>
        </p:spPr>
        <p:txBody>
          <a:bodyPr lIns="0" tIns="0" rIns="0" bIns="0" anchor="ctr">
            <a:normAutofit/>
          </a:bodyPr>
          <a:lstStyle>
            <a:lvl1pPr marL="0" indent="0">
              <a:spcBef>
                <a:spcPts val="0"/>
              </a:spcBef>
              <a:buNone/>
              <a:defRPr sz="1800" b="0">
                <a:solidFill>
                  <a:schemeClr val="tx2"/>
                </a:solidFill>
                <a:latin typeface="Calibri" panose="020B0604030504040204" pitchFamily="34" charset="0"/>
                <a:ea typeface="Calibri" panose="020B0604030504040204" pitchFamily="34" charset="0"/>
                <a:cs typeface="Calibri" panose="020B0604030504040204" pitchFamily="34" charset="0"/>
              </a:defRPr>
            </a:lvl1pPr>
            <a:lvl2pPr marL="408188" indent="0">
              <a:buNone/>
              <a:defRPr sz="1800" b="1"/>
            </a:lvl2pPr>
            <a:lvl3pPr marL="816376" indent="0">
              <a:buNone/>
              <a:defRPr sz="1600" b="1"/>
            </a:lvl3pPr>
            <a:lvl4pPr marL="1224564" indent="0">
              <a:buNone/>
              <a:defRPr sz="1400" b="1"/>
            </a:lvl4pPr>
            <a:lvl5pPr marL="1632753" indent="0">
              <a:buNone/>
              <a:defRPr sz="1400" b="1"/>
            </a:lvl5pPr>
            <a:lvl6pPr marL="2040941" indent="0">
              <a:buNone/>
              <a:defRPr sz="1400" b="1"/>
            </a:lvl6pPr>
            <a:lvl7pPr marL="2449129" indent="0">
              <a:buNone/>
              <a:defRPr sz="1400" b="1"/>
            </a:lvl7pPr>
            <a:lvl8pPr marL="2857317" indent="0">
              <a:buNone/>
              <a:defRPr sz="1400" b="1"/>
            </a:lvl8pPr>
            <a:lvl9pPr marL="3265505" indent="0">
              <a:buNone/>
              <a:defRPr sz="1400" b="1"/>
            </a:lvl9pPr>
          </a:lstStyle>
          <a:p>
            <a:pPr lvl="0"/>
            <a:r>
              <a:rPr lang="en-US" noProof="0"/>
              <a:t>Textmasterformat bearbeiten</a:t>
            </a:r>
          </a:p>
        </p:txBody>
      </p:sp>
      <p:sp>
        <p:nvSpPr>
          <p:cNvPr id="4" name="Titel 3"/>
          <p:cNvSpPr>
            <a:spLocks noGrp="1"/>
          </p:cNvSpPr>
          <p:nvPr>
            <p:ph type="title"/>
          </p:nvPr>
        </p:nvSpPr>
        <p:spPr/>
        <p:txBody>
          <a:bodyPr/>
          <a:lstStyle/>
          <a:p>
            <a:r>
              <a:rPr lang="en-US" noProof="0"/>
              <a:t>Titelmasterformat durch Klicken bearbeiten</a:t>
            </a:r>
          </a:p>
        </p:txBody>
      </p:sp>
      <p:sp>
        <p:nvSpPr>
          <p:cNvPr id="6" name="Inhaltsplatzhalter 5"/>
          <p:cNvSpPr>
            <a:spLocks noGrp="1"/>
          </p:cNvSpPr>
          <p:nvPr>
            <p:ph sz="quarter" idx="13" hasCustomPrompt="1"/>
          </p:nvPr>
        </p:nvSpPr>
        <p:spPr>
          <a:xfrm>
            <a:off x="381000" y="1352550"/>
            <a:ext cx="8382000" cy="3352800"/>
          </a:xfrm>
        </p:spPr>
        <p:txBody>
          <a:bodyPr>
            <a:normAutofit/>
          </a:bodyPr>
          <a:lstStyle>
            <a:lvl1pPr>
              <a:buSzPct val="80000"/>
              <a:defRPr sz="1800"/>
            </a:lvl1pPr>
            <a:lvl2pPr>
              <a:defRPr sz="1600"/>
            </a:lvl2pPr>
            <a:lvl3pPr>
              <a:defRPr sz="1600"/>
            </a:lvl3pPr>
            <a:lvl4pPr>
              <a:defRPr sz="1200"/>
            </a:lvl4pPr>
            <a:lvl5pPr>
              <a:defRPr sz="1200"/>
            </a:lvl5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cxnSp>
        <p:nvCxnSpPr>
          <p:cNvPr id="12" name="Straight Connector 6"/>
          <p:cNvCxnSpPr/>
          <p:nvPr/>
        </p:nvCxnSpPr>
        <p:spPr>
          <a:xfrm>
            <a:off x="381000" y="774849"/>
            <a:ext cx="838200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7" name="Fußzeilenplatzhalter 6"/>
          <p:cNvSpPr>
            <a:spLocks noGrp="1"/>
          </p:cNvSpPr>
          <p:nvPr>
            <p:ph type="ftr" sz="quarter" idx="14"/>
          </p:nvPr>
        </p:nvSpPr>
        <p:spPr>
          <a:xfrm>
            <a:off x="390526" y="4767264"/>
            <a:ext cx="2367189" cy="273844"/>
          </a:xfrm>
          <a:prstGeom prst="rect">
            <a:avLst/>
          </a:prstGeom>
        </p:spPr>
        <p:txBody>
          <a:bodyPr/>
          <a:lstStyle/>
          <a:p>
            <a:pPr algn="l"/>
            <a:r>
              <a:rPr lang="en-US" noProof="0"/>
              <a:t>internal / external/ confidential </a:t>
            </a:r>
          </a:p>
        </p:txBody>
      </p:sp>
      <p:sp>
        <p:nvSpPr>
          <p:cNvPr id="8" name="Foliennummernplatzhalter 7"/>
          <p:cNvSpPr>
            <a:spLocks noGrp="1"/>
          </p:cNvSpPr>
          <p:nvPr>
            <p:ph type="sldNum" sz="quarter" idx="15"/>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40848343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mple slide with call 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Titelmasterformat durch Klicken bearbeiten</a:t>
            </a:r>
          </a:p>
        </p:txBody>
      </p:sp>
      <p:sp>
        <p:nvSpPr>
          <p:cNvPr id="8" name="Inhaltsplatzhalter 7"/>
          <p:cNvSpPr>
            <a:spLocks noGrp="1"/>
          </p:cNvSpPr>
          <p:nvPr>
            <p:ph sz="quarter" idx="13" hasCustomPrompt="1"/>
          </p:nvPr>
        </p:nvSpPr>
        <p:spPr>
          <a:xfrm>
            <a:off x="381000" y="895351"/>
            <a:ext cx="8382000" cy="3369884"/>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6" name="Fußzeilenplatzhalter 5"/>
          <p:cNvSpPr>
            <a:spLocks noGrp="1"/>
          </p:cNvSpPr>
          <p:nvPr>
            <p:ph type="ftr" sz="quarter" idx="15"/>
          </p:nvPr>
        </p:nvSpPr>
        <p:spPr>
          <a:xfrm>
            <a:off x="390526" y="4767264"/>
            <a:ext cx="2367189" cy="273844"/>
          </a:xfrm>
          <a:prstGeom prst="rect">
            <a:avLst/>
          </a:prstGeom>
        </p:spPr>
        <p:txBody>
          <a:bodyPr/>
          <a:lstStyle/>
          <a:p>
            <a:pPr algn="l"/>
            <a:r>
              <a:rPr lang="en-US" noProof="0" dirty="0"/>
              <a:t>internal / external/ confidential </a:t>
            </a:r>
          </a:p>
        </p:txBody>
      </p:sp>
      <p:sp>
        <p:nvSpPr>
          <p:cNvPr id="9" name="Foliennummernplatzhalter 8"/>
          <p:cNvSpPr>
            <a:spLocks noGrp="1"/>
          </p:cNvSpPr>
          <p:nvPr>
            <p:ph type="sldNum" sz="quarter" idx="16"/>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813132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ub-head with call 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Titelmasterformat durch Klicken bearbeiten</a:t>
            </a:r>
          </a:p>
        </p:txBody>
      </p:sp>
      <p:sp>
        <p:nvSpPr>
          <p:cNvPr id="8" name="Inhaltsplatzhalter 7"/>
          <p:cNvSpPr>
            <a:spLocks noGrp="1"/>
          </p:cNvSpPr>
          <p:nvPr>
            <p:ph sz="quarter" idx="13" hasCustomPrompt="1"/>
          </p:nvPr>
        </p:nvSpPr>
        <p:spPr>
          <a:xfrm>
            <a:off x="381000" y="1363663"/>
            <a:ext cx="8382000" cy="2901571"/>
          </a:xfrm>
        </p:spPr>
        <p:txBody>
          <a:bodyPr>
            <a:normAutofit/>
          </a:bodyPr>
          <a:lstStyle>
            <a:lvl1pPr>
              <a:buSzPct val="80000"/>
              <a:defRPr sz="1600"/>
            </a:lvl1pPr>
            <a:lvl2pPr>
              <a:defRPr sz="1400"/>
            </a:lvl2pPr>
            <a:lvl3pPr>
              <a:defRPr sz="1400"/>
            </a:lvl3pPr>
            <a:lvl4pPr>
              <a:defRPr sz="1100"/>
            </a:lvl4pPr>
            <a:lvl5pPr>
              <a:defRPr sz="11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1016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9" name="Textplatzhalter 8"/>
          <p:cNvSpPr>
            <a:spLocks noGrp="1"/>
          </p:cNvSpPr>
          <p:nvPr>
            <p:ph type="body" sz="quarter" idx="15" hasCustomPrompt="1"/>
          </p:nvPr>
        </p:nvSpPr>
        <p:spPr>
          <a:xfrm>
            <a:off x="381000" y="892175"/>
            <a:ext cx="8382000" cy="438150"/>
          </a:xfrm>
        </p:spPr>
        <p:txBody>
          <a:bodyPr anchor="ctr">
            <a:normAutofit/>
          </a:bodyPr>
          <a:lstStyle>
            <a:lvl1pPr marL="0" indent="0">
              <a:buNone/>
              <a:defRPr sz="1600" b="0">
                <a:solidFill>
                  <a:schemeClr val="tx2"/>
                </a:solidFill>
                <a:latin typeface="Calibri" panose="020B0604030504040204" pitchFamily="34" charset="0"/>
                <a:ea typeface="Calibri" panose="020B0604030504040204" pitchFamily="34" charset="0"/>
                <a:cs typeface="Calibri" panose="020B0604030504040204" pitchFamily="34" charset="0"/>
              </a:defRPr>
            </a:lvl1pPr>
          </a:lstStyle>
          <a:p>
            <a:pPr lvl="0"/>
            <a:r>
              <a:rPr lang="en-US" noProof="0"/>
              <a:t>Textmasterformat bearbeiten</a:t>
            </a:r>
          </a:p>
        </p:txBody>
      </p:sp>
      <p:sp>
        <p:nvSpPr>
          <p:cNvPr id="3" name="Fußzeilenplatzhalter 2"/>
          <p:cNvSpPr>
            <a:spLocks noGrp="1"/>
          </p:cNvSpPr>
          <p:nvPr>
            <p:ph type="ftr" sz="quarter" idx="16"/>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7"/>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9750867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spTree>
      <p:nvGrpSpPr>
        <p:cNvPr id="1" name=""/>
        <p:cNvGrpSpPr/>
        <p:nvPr/>
      </p:nvGrpSpPr>
      <p:grpSpPr>
        <a:xfrm>
          <a:off x="0" y="0"/>
          <a:ext cx="0" cy="0"/>
          <a:chOff x="0" y="0"/>
          <a:chExt cx="0" cy="0"/>
        </a:xfrm>
      </p:grpSpPr>
      <p:grpSp>
        <p:nvGrpSpPr>
          <p:cNvPr id="29" name="Gruppieren 28"/>
          <p:cNvGrpSpPr/>
          <p:nvPr/>
        </p:nvGrpSpPr>
        <p:grpSpPr>
          <a:xfrm>
            <a:off x="67505" y="2378975"/>
            <a:ext cx="9076495" cy="2764526"/>
            <a:chOff x="-1198563" y="1439863"/>
            <a:chExt cx="9974263" cy="3071812"/>
          </a:xfrm>
        </p:grpSpPr>
        <p:grpSp>
          <p:nvGrpSpPr>
            <p:cNvPr id="26" name="Gruppieren 25"/>
            <p:cNvGrpSpPr/>
            <p:nvPr/>
          </p:nvGrpSpPr>
          <p:grpSpPr>
            <a:xfrm>
              <a:off x="1689100" y="3344863"/>
              <a:ext cx="7086600" cy="1166812"/>
              <a:chOff x="1689100" y="3344863"/>
              <a:chExt cx="7086600" cy="1166812"/>
            </a:xfrm>
            <a:solidFill>
              <a:schemeClr val="accent2"/>
            </a:solidFill>
          </p:grpSpPr>
          <p:sp>
            <p:nvSpPr>
              <p:cNvPr id="8" name="Freeform 7"/>
              <p:cNvSpPr>
                <a:spLocks/>
              </p:cNvSpPr>
              <p:nvPr/>
            </p:nvSpPr>
            <p:spPr bwMode="auto">
              <a:xfrm>
                <a:off x="3641725" y="4413250"/>
                <a:ext cx="1905000" cy="98425"/>
              </a:xfrm>
              <a:custGeom>
                <a:avLst/>
                <a:gdLst>
                  <a:gd name="T0" fmla="*/ 0 w 508"/>
                  <a:gd name="T1" fmla="*/ 26 h 26"/>
                  <a:gd name="T2" fmla="*/ 30 w 508"/>
                  <a:gd name="T3" fmla="*/ 26 h 26"/>
                  <a:gd name="T4" fmla="*/ 480 w 508"/>
                  <a:gd name="T5" fmla="*/ 26 h 26"/>
                  <a:gd name="T6" fmla="*/ 508 w 508"/>
                  <a:gd name="T7" fmla="*/ 26 h 26"/>
                  <a:gd name="T8" fmla="*/ 0 w 508"/>
                  <a:gd name="T9" fmla="*/ 26 h 26"/>
                </a:gdLst>
                <a:ahLst/>
                <a:cxnLst>
                  <a:cxn ang="0">
                    <a:pos x="T0" y="T1"/>
                  </a:cxn>
                  <a:cxn ang="0">
                    <a:pos x="T2" y="T3"/>
                  </a:cxn>
                  <a:cxn ang="0">
                    <a:pos x="T4" y="T5"/>
                  </a:cxn>
                  <a:cxn ang="0">
                    <a:pos x="T6" y="T7"/>
                  </a:cxn>
                  <a:cxn ang="0">
                    <a:pos x="T8" y="T9"/>
                  </a:cxn>
                </a:cxnLst>
                <a:rect l="0" t="0" r="r" b="b"/>
                <a:pathLst>
                  <a:path w="508" h="26">
                    <a:moveTo>
                      <a:pt x="0" y="26"/>
                    </a:moveTo>
                    <a:cubicBezTo>
                      <a:pt x="30" y="26"/>
                      <a:pt x="30" y="26"/>
                      <a:pt x="30" y="26"/>
                    </a:cubicBezTo>
                    <a:cubicBezTo>
                      <a:pt x="191" y="6"/>
                      <a:pt x="329" y="6"/>
                      <a:pt x="480" y="26"/>
                    </a:cubicBezTo>
                    <a:cubicBezTo>
                      <a:pt x="508" y="26"/>
                      <a:pt x="508" y="26"/>
                      <a:pt x="508" y="26"/>
                    </a:cubicBezTo>
                    <a:cubicBezTo>
                      <a:pt x="337" y="0"/>
                      <a:pt x="184" y="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9" name="Freeform 8"/>
              <p:cNvSpPr>
                <a:spLocks/>
              </p:cNvSpPr>
              <p:nvPr/>
            </p:nvSpPr>
            <p:spPr bwMode="auto">
              <a:xfrm>
                <a:off x="3181350" y="4270375"/>
                <a:ext cx="3108325" cy="241300"/>
              </a:xfrm>
              <a:custGeom>
                <a:avLst/>
                <a:gdLst>
                  <a:gd name="T0" fmla="*/ 0 w 829"/>
                  <a:gd name="T1" fmla="*/ 64 h 64"/>
                  <a:gd name="T2" fmla="*/ 21 w 829"/>
                  <a:gd name="T3" fmla="*/ 64 h 64"/>
                  <a:gd name="T4" fmla="*/ 810 w 829"/>
                  <a:gd name="T5" fmla="*/ 64 h 64"/>
                  <a:gd name="T6" fmla="*/ 829 w 829"/>
                  <a:gd name="T7" fmla="*/ 64 h 64"/>
                  <a:gd name="T8" fmla="*/ 0 w 829"/>
                  <a:gd name="T9" fmla="*/ 64 h 64"/>
                </a:gdLst>
                <a:ahLst/>
                <a:cxnLst>
                  <a:cxn ang="0">
                    <a:pos x="T0" y="T1"/>
                  </a:cxn>
                  <a:cxn ang="0">
                    <a:pos x="T2" y="T3"/>
                  </a:cxn>
                  <a:cxn ang="0">
                    <a:pos x="T4" y="T5"/>
                  </a:cxn>
                  <a:cxn ang="0">
                    <a:pos x="T6" y="T7"/>
                  </a:cxn>
                  <a:cxn ang="0">
                    <a:pos x="T8" y="T9"/>
                  </a:cxn>
                </a:cxnLst>
                <a:rect l="0" t="0" r="r" b="b"/>
                <a:pathLst>
                  <a:path w="829" h="64">
                    <a:moveTo>
                      <a:pt x="0" y="64"/>
                    </a:moveTo>
                    <a:cubicBezTo>
                      <a:pt x="21" y="64"/>
                      <a:pt x="21" y="64"/>
                      <a:pt x="21" y="64"/>
                    </a:cubicBezTo>
                    <a:cubicBezTo>
                      <a:pt x="322" y="6"/>
                      <a:pt x="540" y="6"/>
                      <a:pt x="810" y="64"/>
                    </a:cubicBezTo>
                    <a:cubicBezTo>
                      <a:pt x="829" y="64"/>
                      <a:pt x="829" y="64"/>
                      <a:pt x="829" y="64"/>
                    </a:cubicBezTo>
                    <a:cubicBezTo>
                      <a:pt x="544" y="1"/>
                      <a:pt x="319" y="0"/>
                      <a:pt x="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 name="Freeform 9"/>
              <p:cNvSpPr>
                <a:spLocks/>
              </p:cNvSpPr>
              <p:nvPr/>
            </p:nvSpPr>
            <p:spPr bwMode="auto">
              <a:xfrm>
                <a:off x="2854325" y="4110038"/>
                <a:ext cx="4046538" cy="401637"/>
              </a:xfrm>
              <a:custGeom>
                <a:avLst/>
                <a:gdLst>
                  <a:gd name="T0" fmla="*/ 534 w 1079"/>
                  <a:gd name="T1" fmla="*/ 31 h 107"/>
                  <a:gd name="T2" fmla="*/ 0 w 1079"/>
                  <a:gd name="T3" fmla="*/ 107 h 107"/>
                  <a:gd name="T4" fmla="*/ 17 w 1079"/>
                  <a:gd name="T5" fmla="*/ 107 h 107"/>
                  <a:gd name="T6" fmla="*/ 1063 w 1079"/>
                  <a:gd name="T7" fmla="*/ 107 h 107"/>
                  <a:gd name="T8" fmla="*/ 1079 w 1079"/>
                  <a:gd name="T9" fmla="*/ 107 h 107"/>
                  <a:gd name="T10" fmla="*/ 534 w 1079"/>
                  <a:gd name="T11" fmla="*/ 31 h 107"/>
                </a:gdLst>
                <a:ahLst/>
                <a:cxnLst>
                  <a:cxn ang="0">
                    <a:pos x="T0" y="T1"/>
                  </a:cxn>
                  <a:cxn ang="0">
                    <a:pos x="T2" y="T3"/>
                  </a:cxn>
                  <a:cxn ang="0">
                    <a:pos x="T4" y="T5"/>
                  </a:cxn>
                  <a:cxn ang="0">
                    <a:pos x="T6" y="T7"/>
                  </a:cxn>
                  <a:cxn ang="0">
                    <a:pos x="T8" y="T9"/>
                  </a:cxn>
                  <a:cxn ang="0">
                    <a:pos x="T10" y="T11"/>
                  </a:cxn>
                </a:cxnLst>
                <a:rect l="0" t="0" r="r" b="b"/>
                <a:pathLst>
                  <a:path w="1079" h="107">
                    <a:moveTo>
                      <a:pt x="534" y="31"/>
                    </a:moveTo>
                    <a:cubicBezTo>
                      <a:pt x="378" y="33"/>
                      <a:pt x="218" y="56"/>
                      <a:pt x="0" y="107"/>
                    </a:cubicBezTo>
                    <a:cubicBezTo>
                      <a:pt x="17" y="107"/>
                      <a:pt x="17" y="107"/>
                      <a:pt x="17" y="107"/>
                    </a:cubicBezTo>
                    <a:cubicBezTo>
                      <a:pt x="378" y="23"/>
                      <a:pt x="657" y="0"/>
                      <a:pt x="1063" y="107"/>
                    </a:cubicBezTo>
                    <a:cubicBezTo>
                      <a:pt x="1079" y="107"/>
                      <a:pt x="1079" y="107"/>
                      <a:pt x="1079" y="107"/>
                    </a:cubicBezTo>
                    <a:cubicBezTo>
                      <a:pt x="878" y="53"/>
                      <a:pt x="705" y="29"/>
                      <a:pt x="53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1" name="Freeform 10"/>
              <p:cNvSpPr>
                <a:spLocks/>
              </p:cNvSpPr>
              <p:nvPr/>
            </p:nvSpPr>
            <p:spPr bwMode="auto">
              <a:xfrm>
                <a:off x="2576512" y="3929063"/>
                <a:ext cx="4883150" cy="582612"/>
              </a:xfrm>
              <a:custGeom>
                <a:avLst/>
                <a:gdLst>
                  <a:gd name="T0" fmla="*/ 0 w 1302"/>
                  <a:gd name="T1" fmla="*/ 155 h 155"/>
                  <a:gd name="T2" fmla="*/ 16 w 1302"/>
                  <a:gd name="T3" fmla="*/ 155 h 155"/>
                  <a:gd name="T4" fmla="*/ 1288 w 1302"/>
                  <a:gd name="T5" fmla="*/ 155 h 155"/>
                  <a:gd name="T6" fmla="*/ 1302 w 1302"/>
                  <a:gd name="T7" fmla="*/ 155 h 155"/>
                  <a:gd name="T8" fmla="*/ 0 w 1302"/>
                  <a:gd name="T9" fmla="*/ 155 h 155"/>
                </a:gdLst>
                <a:ahLst/>
                <a:cxnLst>
                  <a:cxn ang="0">
                    <a:pos x="T0" y="T1"/>
                  </a:cxn>
                  <a:cxn ang="0">
                    <a:pos x="T2" y="T3"/>
                  </a:cxn>
                  <a:cxn ang="0">
                    <a:pos x="T4" y="T5"/>
                  </a:cxn>
                  <a:cxn ang="0">
                    <a:pos x="T6" y="T7"/>
                  </a:cxn>
                  <a:cxn ang="0">
                    <a:pos x="T8" y="T9"/>
                  </a:cxn>
                </a:cxnLst>
                <a:rect l="0" t="0" r="r" b="b"/>
                <a:pathLst>
                  <a:path w="1302" h="155">
                    <a:moveTo>
                      <a:pt x="0" y="155"/>
                    </a:moveTo>
                    <a:cubicBezTo>
                      <a:pt x="16" y="155"/>
                      <a:pt x="16" y="155"/>
                      <a:pt x="16" y="155"/>
                    </a:cubicBezTo>
                    <a:cubicBezTo>
                      <a:pt x="478" y="36"/>
                      <a:pt x="792" y="7"/>
                      <a:pt x="1288" y="155"/>
                    </a:cubicBezTo>
                    <a:cubicBezTo>
                      <a:pt x="1302" y="155"/>
                      <a:pt x="1302" y="155"/>
                      <a:pt x="1302" y="155"/>
                    </a:cubicBezTo>
                    <a:cubicBezTo>
                      <a:pt x="792" y="0"/>
                      <a:pt x="475" y="32"/>
                      <a:pt x="0"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11"/>
              <p:cNvSpPr>
                <a:spLocks/>
              </p:cNvSpPr>
              <p:nvPr/>
            </p:nvSpPr>
            <p:spPr bwMode="auto">
              <a:xfrm>
                <a:off x="2333625" y="3798888"/>
                <a:ext cx="5654675" cy="712787"/>
              </a:xfrm>
              <a:custGeom>
                <a:avLst/>
                <a:gdLst>
                  <a:gd name="T0" fmla="*/ 751 w 1508"/>
                  <a:gd name="T1" fmla="*/ 57 h 190"/>
                  <a:gd name="T2" fmla="*/ 0 w 1508"/>
                  <a:gd name="T3" fmla="*/ 190 h 190"/>
                  <a:gd name="T4" fmla="*/ 15 w 1508"/>
                  <a:gd name="T5" fmla="*/ 190 h 190"/>
                  <a:gd name="T6" fmla="*/ 1495 w 1508"/>
                  <a:gd name="T7" fmla="*/ 190 h 190"/>
                  <a:gd name="T8" fmla="*/ 1508 w 1508"/>
                  <a:gd name="T9" fmla="*/ 190 h 190"/>
                  <a:gd name="T10" fmla="*/ 751 w 1508"/>
                  <a:gd name="T11" fmla="*/ 57 h 190"/>
                </a:gdLst>
                <a:ahLst/>
                <a:cxnLst>
                  <a:cxn ang="0">
                    <a:pos x="T0" y="T1"/>
                  </a:cxn>
                  <a:cxn ang="0">
                    <a:pos x="T2" y="T3"/>
                  </a:cxn>
                  <a:cxn ang="0">
                    <a:pos x="T4" y="T5"/>
                  </a:cxn>
                  <a:cxn ang="0">
                    <a:pos x="T6" y="T7"/>
                  </a:cxn>
                  <a:cxn ang="0">
                    <a:pos x="T8" y="T9"/>
                  </a:cxn>
                  <a:cxn ang="0">
                    <a:pos x="T10" y="T11"/>
                  </a:cxn>
                </a:cxnLst>
                <a:rect l="0" t="0" r="r" b="b"/>
                <a:pathLst>
                  <a:path w="1508" h="190">
                    <a:moveTo>
                      <a:pt x="751" y="57"/>
                    </a:moveTo>
                    <a:cubicBezTo>
                      <a:pt x="544" y="61"/>
                      <a:pt x="326" y="99"/>
                      <a:pt x="0" y="190"/>
                    </a:cubicBezTo>
                    <a:cubicBezTo>
                      <a:pt x="15" y="190"/>
                      <a:pt x="15" y="190"/>
                      <a:pt x="15" y="190"/>
                    </a:cubicBezTo>
                    <a:cubicBezTo>
                      <a:pt x="579" y="34"/>
                      <a:pt x="915" y="0"/>
                      <a:pt x="1495" y="190"/>
                    </a:cubicBezTo>
                    <a:cubicBezTo>
                      <a:pt x="1508" y="190"/>
                      <a:pt x="1508" y="190"/>
                      <a:pt x="1508" y="190"/>
                    </a:cubicBezTo>
                    <a:cubicBezTo>
                      <a:pt x="1217" y="94"/>
                      <a:pt x="984" y="53"/>
                      <a:pt x="75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3" name="Freeform 12"/>
              <p:cNvSpPr>
                <a:spLocks/>
              </p:cNvSpPr>
              <p:nvPr/>
            </p:nvSpPr>
            <p:spPr bwMode="auto">
              <a:xfrm>
                <a:off x="2108200" y="3663950"/>
                <a:ext cx="6394450" cy="847725"/>
              </a:xfrm>
              <a:custGeom>
                <a:avLst/>
                <a:gdLst>
                  <a:gd name="T0" fmla="*/ 851 w 1705"/>
                  <a:gd name="T1" fmla="*/ 64 h 226"/>
                  <a:gd name="T2" fmla="*/ 0 w 1705"/>
                  <a:gd name="T3" fmla="*/ 226 h 226"/>
                  <a:gd name="T4" fmla="*/ 14 w 1705"/>
                  <a:gd name="T5" fmla="*/ 226 h 226"/>
                  <a:gd name="T6" fmla="*/ 1692 w 1705"/>
                  <a:gd name="T7" fmla="*/ 226 h 226"/>
                  <a:gd name="T8" fmla="*/ 1705 w 1705"/>
                  <a:gd name="T9" fmla="*/ 226 h 226"/>
                  <a:gd name="T10" fmla="*/ 851 w 1705"/>
                  <a:gd name="T11" fmla="*/ 64 h 226"/>
                </a:gdLst>
                <a:ahLst/>
                <a:cxnLst>
                  <a:cxn ang="0">
                    <a:pos x="T0" y="T1"/>
                  </a:cxn>
                  <a:cxn ang="0">
                    <a:pos x="T2" y="T3"/>
                  </a:cxn>
                  <a:cxn ang="0">
                    <a:pos x="T4" y="T5"/>
                  </a:cxn>
                  <a:cxn ang="0">
                    <a:pos x="T6" y="T7"/>
                  </a:cxn>
                  <a:cxn ang="0">
                    <a:pos x="T8" y="T9"/>
                  </a:cxn>
                  <a:cxn ang="0">
                    <a:pos x="T10" y="T11"/>
                  </a:cxn>
                </a:cxnLst>
                <a:rect l="0" t="0" r="r" b="b"/>
                <a:pathLst>
                  <a:path w="1705" h="226">
                    <a:moveTo>
                      <a:pt x="851" y="64"/>
                    </a:moveTo>
                    <a:cubicBezTo>
                      <a:pt x="583" y="70"/>
                      <a:pt x="317" y="133"/>
                      <a:pt x="0" y="226"/>
                    </a:cubicBezTo>
                    <a:cubicBezTo>
                      <a:pt x="14" y="226"/>
                      <a:pt x="14" y="226"/>
                      <a:pt x="14" y="226"/>
                    </a:cubicBezTo>
                    <a:cubicBezTo>
                      <a:pt x="687" y="29"/>
                      <a:pt x="1047" y="0"/>
                      <a:pt x="1692" y="226"/>
                    </a:cubicBezTo>
                    <a:cubicBezTo>
                      <a:pt x="1705" y="226"/>
                      <a:pt x="1705" y="226"/>
                      <a:pt x="1705" y="226"/>
                    </a:cubicBezTo>
                    <a:cubicBezTo>
                      <a:pt x="1373" y="109"/>
                      <a:pt x="1110" y="59"/>
                      <a:pt x="85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4" name="Freeform 13"/>
              <p:cNvSpPr>
                <a:spLocks/>
              </p:cNvSpPr>
              <p:nvPr/>
            </p:nvSpPr>
            <p:spPr bwMode="auto">
              <a:xfrm>
                <a:off x="1895475" y="3524250"/>
                <a:ext cx="6880225" cy="987425"/>
              </a:xfrm>
              <a:custGeom>
                <a:avLst/>
                <a:gdLst>
                  <a:gd name="T0" fmla="*/ 1835 w 1835"/>
                  <a:gd name="T1" fmla="*/ 241 h 263"/>
                  <a:gd name="T2" fmla="*/ 924 w 1835"/>
                  <a:gd name="T3" fmla="*/ 74 h 263"/>
                  <a:gd name="T4" fmla="*/ 0 w 1835"/>
                  <a:gd name="T5" fmla="*/ 263 h 263"/>
                  <a:gd name="T6" fmla="*/ 13 w 1835"/>
                  <a:gd name="T7" fmla="*/ 263 h 263"/>
                  <a:gd name="T8" fmla="*/ 1835 w 1835"/>
                  <a:gd name="T9" fmla="*/ 246 h 263"/>
                  <a:gd name="T10" fmla="*/ 1835 w 1835"/>
                  <a:gd name="T11" fmla="*/ 241 h 263"/>
                </a:gdLst>
                <a:ahLst/>
                <a:cxnLst>
                  <a:cxn ang="0">
                    <a:pos x="T0" y="T1"/>
                  </a:cxn>
                  <a:cxn ang="0">
                    <a:pos x="T2" y="T3"/>
                  </a:cxn>
                  <a:cxn ang="0">
                    <a:pos x="T4" y="T5"/>
                  </a:cxn>
                  <a:cxn ang="0">
                    <a:pos x="T6" y="T7"/>
                  </a:cxn>
                  <a:cxn ang="0">
                    <a:pos x="T8" y="T9"/>
                  </a:cxn>
                  <a:cxn ang="0">
                    <a:pos x="T10" y="T11"/>
                  </a:cxn>
                </a:cxnLst>
                <a:rect l="0" t="0" r="r" b="b"/>
                <a:pathLst>
                  <a:path w="1835" h="263">
                    <a:moveTo>
                      <a:pt x="1835" y="241"/>
                    </a:moveTo>
                    <a:cubicBezTo>
                      <a:pt x="1484" y="116"/>
                      <a:pt x="1203" y="64"/>
                      <a:pt x="924" y="74"/>
                    </a:cubicBezTo>
                    <a:cubicBezTo>
                      <a:pt x="639" y="83"/>
                      <a:pt x="348" y="156"/>
                      <a:pt x="0" y="263"/>
                    </a:cubicBezTo>
                    <a:cubicBezTo>
                      <a:pt x="13" y="263"/>
                      <a:pt x="13" y="263"/>
                      <a:pt x="13" y="263"/>
                    </a:cubicBezTo>
                    <a:cubicBezTo>
                      <a:pt x="757" y="36"/>
                      <a:pt x="1148" y="0"/>
                      <a:pt x="1835" y="246"/>
                    </a:cubicBezTo>
                    <a:lnTo>
                      <a:pt x="1835"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5" name="Freeform 14"/>
              <p:cNvSpPr>
                <a:spLocks/>
              </p:cNvSpPr>
              <p:nvPr/>
            </p:nvSpPr>
            <p:spPr bwMode="auto">
              <a:xfrm>
                <a:off x="1689100" y="3344863"/>
                <a:ext cx="7086600" cy="1166812"/>
              </a:xfrm>
              <a:custGeom>
                <a:avLst/>
                <a:gdLst>
                  <a:gd name="T0" fmla="*/ 1890 w 1890"/>
                  <a:gd name="T1" fmla="*/ 241 h 311"/>
                  <a:gd name="T2" fmla="*/ 966 w 1890"/>
                  <a:gd name="T3" fmla="*/ 96 h 311"/>
                  <a:gd name="T4" fmla="*/ 0 w 1890"/>
                  <a:gd name="T5" fmla="*/ 311 h 311"/>
                  <a:gd name="T6" fmla="*/ 13 w 1890"/>
                  <a:gd name="T7" fmla="*/ 311 h 311"/>
                  <a:gd name="T8" fmla="*/ 1890 w 1890"/>
                  <a:gd name="T9" fmla="*/ 246 h 311"/>
                  <a:gd name="T10" fmla="*/ 1890 w 1890"/>
                  <a:gd name="T11" fmla="*/ 241 h 311"/>
                </a:gdLst>
                <a:ahLst/>
                <a:cxnLst>
                  <a:cxn ang="0">
                    <a:pos x="T0" y="T1"/>
                  </a:cxn>
                  <a:cxn ang="0">
                    <a:pos x="T2" y="T3"/>
                  </a:cxn>
                  <a:cxn ang="0">
                    <a:pos x="T4" y="T5"/>
                  </a:cxn>
                  <a:cxn ang="0">
                    <a:pos x="T6" y="T7"/>
                  </a:cxn>
                  <a:cxn ang="0">
                    <a:pos x="T8" y="T9"/>
                  </a:cxn>
                  <a:cxn ang="0">
                    <a:pos x="T10" y="T11"/>
                  </a:cxn>
                </a:cxnLst>
                <a:rect l="0" t="0" r="r" b="b"/>
                <a:pathLst>
                  <a:path w="1890" h="311">
                    <a:moveTo>
                      <a:pt x="1890" y="241"/>
                    </a:moveTo>
                    <a:cubicBezTo>
                      <a:pt x="1542" y="123"/>
                      <a:pt x="1257" y="78"/>
                      <a:pt x="966" y="96"/>
                    </a:cubicBezTo>
                    <a:cubicBezTo>
                      <a:pt x="673" y="113"/>
                      <a:pt x="368" y="194"/>
                      <a:pt x="0" y="311"/>
                    </a:cubicBezTo>
                    <a:cubicBezTo>
                      <a:pt x="13" y="311"/>
                      <a:pt x="13" y="311"/>
                      <a:pt x="13" y="311"/>
                    </a:cubicBezTo>
                    <a:cubicBezTo>
                      <a:pt x="741" y="81"/>
                      <a:pt x="1168" y="0"/>
                      <a:pt x="1890" y="246"/>
                    </a:cubicBezTo>
                    <a:lnTo>
                      <a:pt x="189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grpSp>
          <p:nvGrpSpPr>
            <p:cNvPr id="27" name="Gruppieren 26"/>
            <p:cNvGrpSpPr/>
            <p:nvPr/>
          </p:nvGrpSpPr>
          <p:grpSpPr>
            <a:xfrm>
              <a:off x="-1198563" y="1439863"/>
              <a:ext cx="9974263" cy="3071812"/>
              <a:chOff x="-1198563" y="1439863"/>
              <a:chExt cx="9974263" cy="3071812"/>
            </a:xfrm>
          </p:grpSpPr>
          <p:sp>
            <p:nvSpPr>
              <p:cNvPr id="6" name="Freeform 6"/>
              <p:cNvSpPr>
                <a:spLocks/>
              </p:cNvSpPr>
              <p:nvPr/>
            </p:nvSpPr>
            <p:spPr bwMode="auto">
              <a:xfrm>
                <a:off x="-677863" y="3094038"/>
                <a:ext cx="9453563" cy="1417637"/>
              </a:xfrm>
              <a:custGeom>
                <a:avLst/>
                <a:gdLst>
                  <a:gd name="T0" fmla="*/ 2521 w 2521"/>
                  <a:gd name="T1" fmla="*/ 220 h 378"/>
                  <a:gd name="T2" fmla="*/ 1724 w 2521"/>
                  <a:gd name="T3" fmla="*/ 38 h 378"/>
                  <a:gd name="T4" fmla="*/ 2521 w 2521"/>
                  <a:gd name="T5" fmla="*/ 164 h 378"/>
                  <a:gd name="T6" fmla="*/ 1716 w 2521"/>
                  <a:gd name="T7" fmla="*/ 30 h 378"/>
                  <a:gd name="T8" fmla="*/ 1553 w 2521"/>
                  <a:gd name="T9" fmla="*/ 41 h 378"/>
                  <a:gd name="T10" fmla="*/ 1501 w 2521"/>
                  <a:gd name="T11" fmla="*/ 41 h 378"/>
                  <a:gd name="T12" fmla="*/ 1449 w 2521"/>
                  <a:gd name="T13" fmla="*/ 36 h 378"/>
                  <a:gd name="T14" fmla="*/ 986 w 2521"/>
                  <a:gd name="T15" fmla="*/ 35 h 378"/>
                  <a:gd name="T16" fmla="*/ 0 w 2521"/>
                  <a:gd name="T17" fmla="*/ 378 h 378"/>
                  <a:gd name="T18" fmla="*/ 647 w 2521"/>
                  <a:gd name="T19" fmla="*/ 162 h 378"/>
                  <a:gd name="T20" fmla="*/ 1350 w 2521"/>
                  <a:gd name="T21" fmla="*/ 24 h 378"/>
                  <a:gd name="T22" fmla="*/ 666 w 2521"/>
                  <a:gd name="T23" fmla="*/ 169 h 378"/>
                  <a:gd name="T24" fmla="*/ 64 w 2521"/>
                  <a:gd name="T25" fmla="*/ 378 h 378"/>
                  <a:gd name="T26" fmla="*/ 996 w 2521"/>
                  <a:gd name="T27" fmla="*/ 54 h 378"/>
                  <a:gd name="T28" fmla="*/ 1005 w 2521"/>
                  <a:gd name="T29" fmla="*/ 65 h 378"/>
                  <a:gd name="T30" fmla="*/ 94 w 2521"/>
                  <a:gd name="T31" fmla="*/ 378 h 378"/>
                  <a:gd name="T32" fmla="*/ 688 w 2521"/>
                  <a:gd name="T33" fmla="*/ 183 h 378"/>
                  <a:gd name="T34" fmla="*/ 1412 w 2521"/>
                  <a:gd name="T35" fmla="*/ 36 h 378"/>
                  <a:gd name="T36" fmla="*/ 707 w 2521"/>
                  <a:gd name="T37" fmla="*/ 190 h 378"/>
                  <a:gd name="T38" fmla="*/ 159 w 2521"/>
                  <a:gd name="T39" fmla="*/ 378 h 378"/>
                  <a:gd name="T40" fmla="*/ 1015 w 2521"/>
                  <a:gd name="T41" fmla="*/ 84 h 378"/>
                  <a:gd name="T42" fmla="*/ 1024 w 2521"/>
                  <a:gd name="T43" fmla="*/ 95 h 378"/>
                  <a:gd name="T44" fmla="*/ 189 w 2521"/>
                  <a:gd name="T45" fmla="*/ 378 h 378"/>
                  <a:gd name="T46" fmla="*/ 729 w 2521"/>
                  <a:gd name="T47" fmla="*/ 204 h 378"/>
                  <a:gd name="T48" fmla="*/ 1453 w 2521"/>
                  <a:gd name="T49" fmla="*/ 43 h 378"/>
                  <a:gd name="T50" fmla="*/ 1033 w 2521"/>
                  <a:gd name="T51" fmla="*/ 110 h 378"/>
                  <a:gd name="T52" fmla="*/ 237 w 2521"/>
                  <a:gd name="T53" fmla="*/ 378 h 378"/>
                  <a:gd name="T54" fmla="*/ 749 w 2521"/>
                  <a:gd name="T55" fmla="*/ 215 h 378"/>
                  <a:gd name="T56" fmla="*/ 1470 w 2521"/>
                  <a:gd name="T57" fmla="*/ 47 h 378"/>
                  <a:gd name="T58" fmla="*/ 1043 w 2521"/>
                  <a:gd name="T59" fmla="*/ 125 h 378"/>
                  <a:gd name="T60" fmla="*/ 285 w 2521"/>
                  <a:gd name="T61" fmla="*/ 378 h 378"/>
                  <a:gd name="T62" fmla="*/ 769 w 2521"/>
                  <a:gd name="T63" fmla="*/ 226 h 378"/>
                  <a:gd name="T64" fmla="*/ 1484 w 2521"/>
                  <a:gd name="T65" fmla="*/ 51 h 378"/>
                  <a:gd name="T66" fmla="*/ 1052 w 2521"/>
                  <a:gd name="T67" fmla="*/ 139 h 378"/>
                  <a:gd name="T68" fmla="*/ 333 w 2521"/>
                  <a:gd name="T69" fmla="*/ 378 h 378"/>
                  <a:gd name="T70" fmla="*/ 789 w 2521"/>
                  <a:gd name="T71" fmla="*/ 237 h 378"/>
                  <a:gd name="T72" fmla="*/ 1494 w 2521"/>
                  <a:gd name="T73" fmla="*/ 53 h 378"/>
                  <a:gd name="T74" fmla="*/ 2134 w 2521"/>
                  <a:gd name="T75" fmla="*/ 378 h 378"/>
                  <a:gd name="T76" fmla="*/ 1506 w 2521"/>
                  <a:gd name="T77" fmla="*/ 52 h 378"/>
                  <a:gd name="T78" fmla="*/ 2224 w 2521"/>
                  <a:gd name="T79" fmla="*/ 378 h 378"/>
                  <a:gd name="T80" fmla="*/ 2230 w 2521"/>
                  <a:gd name="T81" fmla="*/ 378 h 378"/>
                  <a:gd name="T82" fmla="*/ 1522 w 2521"/>
                  <a:gd name="T83" fmla="*/ 50 h 378"/>
                  <a:gd name="T84" fmla="*/ 2329 w 2521"/>
                  <a:gd name="T85" fmla="*/ 378 h 378"/>
                  <a:gd name="T86" fmla="*/ 2335 w 2521"/>
                  <a:gd name="T87" fmla="*/ 378 h 378"/>
                  <a:gd name="T88" fmla="*/ 1545 w 2521"/>
                  <a:gd name="T89" fmla="*/ 49 h 378"/>
                  <a:gd name="T90" fmla="*/ 2445 w 2521"/>
                  <a:gd name="T91" fmla="*/ 378 h 378"/>
                  <a:gd name="T92" fmla="*/ 1722 w 2521"/>
                  <a:gd name="T93" fmla="*/ 71 h 378"/>
                  <a:gd name="T94" fmla="*/ 1559 w 2521"/>
                  <a:gd name="T95" fmla="*/ 46 h 378"/>
                  <a:gd name="T96" fmla="*/ 2521 w 2521"/>
                  <a:gd name="T97" fmla="*/ 349 h 378"/>
                  <a:gd name="T98" fmla="*/ 1593 w 2521"/>
                  <a:gd name="T99" fmla="*/ 45 h 378"/>
                  <a:gd name="T100" fmla="*/ 2521 w 2521"/>
                  <a:gd name="T101" fmla="*/ 278 h 378"/>
                  <a:gd name="T102" fmla="*/ 1638 w 2521"/>
                  <a:gd name="T103" fmla="*/ 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1" h="378">
                    <a:moveTo>
                      <a:pt x="1638" y="42"/>
                    </a:moveTo>
                    <a:cubicBezTo>
                      <a:pt x="1950" y="36"/>
                      <a:pt x="2246" y="95"/>
                      <a:pt x="2521" y="220"/>
                    </a:cubicBezTo>
                    <a:cubicBezTo>
                      <a:pt x="2521" y="215"/>
                      <a:pt x="2521" y="215"/>
                      <a:pt x="2521" y="215"/>
                    </a:cubicBezTo>
                    <a:cubicBezTo>
                      <a:pt x="2271" y="103"/>
                      <a:pt x="2003" y="43"/>
                      <a:pt x="1724" y="38"/>
                    </a:cubicBezTo>
                    <a:cubicBezTo>
                      <a:pt x="1700" y="37"/>
                      <a:pt x="1675" y="37"/>
                      <a:pt x="1650" y="38"/>
                    </a:cubicBezTo>
                    <a:cubicBezTo>
                      <a:pt x="1920" y="19"/>
                      <a:pt x="2211" y="46"/>
                      <a:pt x="2521" y="164"/>
                    </a:cubicBezTo>
                    <a:cubicBezTo>
                      <a:pt x="2521" y="160"/>
                      <a:pt x="2521" y="160"/>
                      <a:pt x="2521" y="160"/>
                    </a:cubicBezTo>
                    <a:cubicBezTo>
                      <a:pt x="2264" y="62"/>
                      <a:pt x="2001" y="20"/>
                      <a:pt x="1716" y="30"/>
                    </a:cubicBezTo>
                    <a:cubicBezTo>
                      <a:pt x="1669" y="32"/>
                      <a:pt x="1623" y="36"/>
                      <a:pt x="1579" y="40"/>
                    </a:cubicBezTo>
                    <a:cubicBezTo>
                      <a:pt x="1570" y="40"/>
                      <a:pt x="1562" y="41"/>
                      <a:pt x="1553" y="41"/>
                    </a:cubicBezTo>
                    <a:cubicBezTo>
                      <a:pt x="1545" y="41"/>
                      <a:pt x="1537" y="41"/>
                      <a:pt x="1530" y="41"/>
                    </a:cubicBezTo>
                    <a:cubicBezTo>
                      <a:pt x="1520" y="41"/>
                      <a:pt x="1511" y="41"/>
                      <a:pt x="1501" y="41"/>
                    </a:cubicBezTo>
                    <a:cubicBezTo>
                      <a:pt x="1492" y="40"/>
                      <a:pt x="1483" y="39"/>
                      <a:pt x="1475" y="39"/>
                    </a:cubicBezTo>
                    <a:cubicBezTo>
                      <a:pt x="1466" y="38"/>
                      <a:pt x="1457" y="37"/>
                      <a:pt x="1449" y="36"/>
                    </a:cubicBezTo>
                    <a:cubicBezTo>
                      <a:pt x="1441" y="35"/>
                      <a:pt x="1433" y="34"/>
                      <a:pt x="1426" y="33"/>
                    </a:cubicBezTo>
                    <a:cubicBezTo>
                      <a:pt x="1267" y="0"/>
                      <a:pt x="1117" y="1"/>
                      <a:pt x="986" y="35"/>
                    </a:cubicBezTo>
                    <a:cubicBezTo>
                      <a:pt x="892" y="60"/>
                      <a:pt x="777" y="106"/>
                      <a:pt x="645" y="158"/>
                    </a:cubicBezTo>
                    <a:cubicBezTo>
                      <a:pt x="455" y="234"/>
                      <a:pt x="239" y="319"/>
                      <a:pt x="0" y="378"/>
                    </a:cubicBezTo>
                    <a:cubicBezTo>
                      <a:pt x="17" y="378"/>
                      <a:pt x="17" y="378"/>
                      <a:pt x="17" y="378"/>
                    </a:cubicBezTo>
                    <a:cubicBezTo>
                      <a:pt x="250" y="319"/>
                      <a:pt x="460" y="236"/>
                      <a:pt x="647" y="162"/>
                    </a:cubicBezTo>
                    <a:cubicBezTo>
                      <a:pt x="779" y="109"/>
                      <a:pt x="893" y="64"/>
                      <a:pt x="987" y="39"/>
                    </a:cubicBezTo>
                    <a:cubicBezTo>
                      <a:pt x="1102" y="9"/>
                      <a:pt x="1226" y="6"/>
                      <a:pt x="1350" y="24"/>
                    </a:cubicBezTo>
                    <a:cubicBezTo>
                      <a:pt x="1223" y="13"/>
                      <a:pt x="1103" y="22"/>
                      <a:pt x="995" y="50"/>
                    </a:cubicBezTo>
                    <a:cubicBezTo>
                      <a:pt x="901" y="75"/>
                      <a:pt x="792" y="118"/>
                      <a:pt x="666" y="169"/>
                    </a:cubicBezTo>
                    <a:cubicBezTo>
                      <a:pt x="485" y="241"/>
                      <a:pt x="280" y="322"/>
                      <a:pt x="47" y="378"/>
                    </a:cubicBezTo>
                    <a:cubicBezTo>
                      <a:pt x="64" y="378"/>
                      <a:pt x="64" y="378"/>
                      <a:pt x="64" y="378"/>
                    </a:cubicBezTo>
                    <a:cubicBezTo>
                      <a:pt x="290" y="322"/>
                      <a:pt x="490" y="243"/>
                      <a:pt x="667" y="172"/>
                    </a:cubicBezTo>
                    <a:cubicBezTo>
                      <a:pt x="794" y="122"/>
                      <a:pt x="903" y="79"/>
                      <a:pt x="996" y="54"/>
                    </a:cubicBezTo>
                    <a:cubicBezTo>
                      <a:pt x="1116" y="23"/>
                      <a:pt x="1244" y="17"/>
                      <a:pt x="1373" y="30"/>
                    </a:cubicBezTo>
                    <a:cubicBezTo>
                      <a:pt x="1242" y="24"/>
                      <a:pt x="1118" y="35"/>
                      <a:pt x="1005" y="65"/>
                    </a:cubicBezTo>
                    <a:cubicBezTo>
                      <a:pt x="911" y="90"/>
                      <a:pt x="807" y="131"/>
                      <a:pt x="687" y="179"/>
                    </a:cubicBezTo>
                    <a:cubicBezTo>
                      <a:pt x="515" y="248"/>
                      <a:pt x="320" y="325"/>
                      <a:pt x="94" y="378"/>
                    </a:cubicBezTo>
                    <a:cubicBezTo>
                      <a:pt x="112" y="378"/>
                      <a:pt x="112" y="378"/>
                      <a:pt x="112" y="378"/>
                    </a:cubicBezTo>
                    <a:cubicBezTo>
                      <a:pt x="331" y="325"/>
                      <a:pt x="520" y="250"/>
                      <a:pt x="688" y="183"/>
                    </a:cubicBezTo>
                    <a:cubicBezTo>
                      <a:pt x="809" y="135"/>
                      <a:pt x="913" y="93"/>
                      <a:pt x="1006" y="69"/>
                    </a:cubicBezTo>
                    <a:cubicBezTo>
                      <a:pt x="1131" y="36"/>
                      <a:pt x="1269" y="26"/>
                      <a:pt x="1412" y="36"/>
                    </a:cubicBezTo>
                    <a:cubicBezTo>
                      <a:pt x="1272" y="33"/>
                      <a:pt x="1138" y="48"/>
                      <a:pt x="1014" y="80"/>
                    </a:cubicBezTo>
                    <a:cubicBezTo>
                      <a:pt x="921" y="104"/>
                      <a:pt x="822" y="144"/>
                      <a:pt x="707" y="190"/>
                    </a:cubicBezTo>
                    <a:cubicBezTo>
                      <a:pt x="545" y="255"/>
                      <a:pt x="360" y="328"/>
                      <a:pt x="142" y="378"/>
                    </a:cubicBezTo>
                    <a:cubicBezTo>
                      <a:pt x="159" y="378"/>
                      <a:pt x="159" y="378"/>
                      <a:pt x="159" y="378"/>
                    </a:cubicBezTo>
                    <a:cubicBezTo>
                      <a:pt x="371" y="328"/>
                      <a:pt x="550" y="257"/>
                      <a:pt x="709" y="194"/>
                    </a:cubicBezTo>
                    <a:cubicBezTo>
                      <a:pt x="823" y="148"/>
                      <a:pt x="922" y="108"/>
                      <a:pt x="1015" y="84"/>
                    </a:cubicBezTo>
                    <a:cubicBezTo>
                      <a:pt x="1143" y="50"/>
                      <a:pt x="1281" y="36"/>
                      <a:pt x="1423" y="41"/>
                    </a:cubicBezTo>
                    <a:cubicBezTo>
                      <a:pt x="1285" y="44"/>
                      <a:pt x="1150" y="62"/>
                      <a:pt x="1024" y="95"/>
                    </a:cubicBezTo>
                    <a:cubicBezTo>
                      <a:pt x="931" y="119"/>
                      <a:pt x="832" y="159"/>
                      <a:pt x="728" y="201"/>
                    </a:cubicBezTo>
                    <a:cubicBezTo>
                      <a:pt x="574" y="262"/>
                      <a:pt x="401" y="331"/>
                      <a:pt x="189" y="378"/>
                    </a:cubicBezTo>
                    <a:cubicBezTo>
                      <a:pt x="208" y="378"/>
                      <a:pt x="208" y="378"/>
                      <a:pt x="208" y="378"/>
                    </a:cubicBezTo>
                    <a:cubicBezTo>
                      <a:pt x="411" y="331"/>
                      <a:pt x="580" y="264"/>
                      <a:pt x="729" y="204"/>
                    </a:cubicBezTo>
                    <a:cubicBezTo>
                      <a:pt x="834" y="163"/>
                      <a:pt x="932" y="123"/>
                      <a:pt x="1025" y="99"/>
                    </a:cubicBezTo>
                    <a:cubicBezTo>
                      <a:pt x="1163" y="62"/>
                      <a:pt x="1307" y="44"/>
                      <a:pt x="1453" y="43"/>
                    </a:cubicBezTo>
                    <a:cubicBezTo>
                      <a:pt x="1455" y="43"/>
                      <a:pt x="1456" y="44"/>
                      <a:pt x="1457" y="44"/>
                    </a:cubicBezTo>
                    <a:cubicBezTo>
                      <a:pt x="1314" y="52"/>
                      <a:pt x="1170" y="74"/>
                      <a:pt x="1033" y="110"/>
                    </a:cubicBezTo>
                    <a:cubicBezTo>
                      <a:pt x="941" y="134"/>
                      <a:pt x="847" y="172"/>
                      <a:pt x="748" y="211"/>
                    </a:cubicBezTo>
                    <a:cubicBezTo>
                      <a:pt x="604" y="269"/>
                      <a:pt x="441" y="334"/>
                      <a:pt x="237" y="378"/>
                    </a:cubicBezTo>
                    <a:cubicBezTo>
                      <a:pt x="256" y="378"/>
                      <a:pt x="256" y="378"/>
                      <a:pt x="256" y="378"/>
                    </a:cubicBezTo>
                    <a:cubicBezTo>
                      <a:pt x="452" y="334"/>
                      <a:pt x="609" y="271"/>
                      <a:pt x="749" y="215"/>
                    </a:cubicBezTo>
                    <a:cubicBezTo>
                      <a:pt x="848" y="175"/>
                      <a:pt x="942" y="138"/>
                      <a:pt x="1034" y="114"/>
                    </a:cubicBezTo>
                    <a:cubicBezTo>
                      <a:pt x="1144" y="85"/>
                      <a:pt x="1294" y="56"/>
                      <a:pt x="1470" y="47"/>
                    </a:cubicBezTo>
                    <a:cubicBezTo>
                      <a:pt x="1470" y="47"/>
                      <a:pt x="1471" y="47"/>
                      <a:pt x="1471" y="47"/>
                    </a:cubicBezTo>
                    <a:cubicBezTo>
                      <a:pt x="1332" y="61"/>
                      <a:pt x="1188" y="86"/>
                      <a:pt x="1043" y="125"/>
                    </a:cubicBezTo>
                    <a:cubicBezTo>
                      <a:pt x="951" y="149"/>
                      <a:pt x="862" y="184"/>
                      <a:pt x="768" y="222"/>
                    </a:cubicBezTo>
                    <a:cubicBezTo>
                      <a:pt x="633" y="276"/>
                      <a:pt x="481" y="337"/>
                      <a:pt x="285" y="378"/>
                    </a:cubicBezTo>
                    <a:cubicBezTo>
                      <a:pt x="304" y="378"/>
                      <a:pt x="304" y="378"/>
                      <a:pt x="304" y="378"/>
                    </a:cubicBezTo>
                    <a:cubicBezTo>
                      <a:pt x="492" y="337"/>
                      <a:pt x="639" y="278"/>
                      <a:pt x="769" y="226"/>
                    </a:cubicBezTo>
                    <a:cubicBezTo>
                      <a:pt x="863" y="188"/>
                      <a:pt x="952" y="153"/>
                      <a:pt x="1044" y="128"/>
                    </a:cubicBezTo>
                    <a:cubicBezTo>
                      <a:pt x="1194" y="89"/>
                      <a:pt x="1340" y="63"/>
                      <a:pt x="1484" y="51"/>
                    </a:cubicBezTo>
                    <a:cubicBezTo>
                      <a:pt x="1484" y="51"/>
                      <a:pt x="1484" y="51"/>
                      <a:pt x="1484" y="51"/>
                    </a:cubicBezTo>
                    <a:cubicBezTo>
                      <a:pt x="1320" y="73"/>
                      <a:pt x="1172" y="108"/>
                      <a:pt x="1052" y="139"/>
                    </a:cubicBezTo>
                    <a:cubicBezTo>
                      <a:pt x="960" y="164"/>
                      <a:pt x="876" y="197"/>
                      <a:pt x="788" y="233"/>
                    </a:cubicBezTo>
                    <a:cubicBezTo>
                      <a:pt x="663" y="284"/>
                      <a:pt x="521" y="340"/>
                      <a:pt x="333" y="378"/>
                    </a:cubicBezTo>
                    <a:cubicBezTo>
                      <a:pt x="353" y="378"/>
                      <a:pt x="353" y="378"/>
                      <a:pt x="353" y="378"/>
                    </a:cubicBezTo>
                    <a:cubicBezTo>
                      <a:pt x="532" y="340"/>
                      <a:pt x="668" y="286"/>
                      <a:pt x="789" y="237"/>
                    </a:cubicBezTo>
                    <a:cubicBezTo>
                      <a:pt x="878" y="201"/>
                      <a:pt x="962" y="167"/>
                      <a:pt x="1054" y="143"/>
                    </a:cubicBezTo>
                    <a:cubicBezTo>
                      <a:pt x="1191" y="107"/>
                      <a:pt x="1339" y="74"/>
                      <a:pt x="1494" y="53"/>
                    </a:cubicBezTo>
                    <a:cubicBezTo>
                      <a:pt x="1729" y="115"/>
                      <a:pt x="1957" y="239"/>
                      <a:pt x="2128" y="378"/>
                    </a:cubicBezTo>
                    <a:cubicBezTo>
                      <a:pt x="2134" y="378"/>
                      <a:pt x="2134" y="378"/>
                      <a:pt x="2134" y="378"/>
                    </a:cubicBezTo>
                    <a:cubicBezTo>
                      <a:pt x="1974" y="247"/>
                      <a:pt x="1780" y="140"/>
                      <a:pt x="1587" y="76"/>
                    </a:cubicBezTo>
                    <a:cubicBezTo>
                      <a:pt x="1560" y="67"/>
                      <a:pt x="1533" y="59"/>
                      <a:pt x="1506" y="52"/>
                    </a:cubicBezTo>
                    <a:cubicBezTo>
                      <a:pt x="1507" y="52"/>
                      <a:pt x="1507" y="52"/>
                      <a:pt x="1508" y="51"/>
                    </a:cubicBezTo>
                    <a:cubicBezTo>
                      <a:pt x="1773" y="106"/>
                      <a:pt x="2032" y="233"/>
                      <a:pt x="2224" y="378"/>
                    </a:cubicBezTo>
                    <a:cubicBezTo>
                      <a:pt x="2230" y="378"/>
                      <a:pt x="2230" y="378"/>
                      <a:pt x="2230" y="378"/>
                    </a:cubicBezTo>
                    <a:cubicBezTo>
                      <a:pt x="2230" y="378"/>
                      <a:pt x="2230" y="378"/>
                      <a:pt x="2230" y="378"/>
                    </a:cubicBezTo>
                    <a:cubicBezTo>
                      <a:pt x="2054" y="244"/>
                      <a:pt x="1841" y="137"/>
                      <a:pt x="1631" y="77"/>
                    </a:cubicBezTo>
                    <a:cubicBezTo>
                      <a:pt x="1594" y="66"/>
                      <a:pt x="1558" y="57"/>
                      <a:pt x="1522" y="50"/>
                    </a:cubicBezTo>
                    <a:cubicBezTo>
                      <a:pt x="1524" y="50"/>
                      <a:pt x="1525" y="49"/>
                      <a:pt x="1527" y="49"/>
                    </a:cubicBezTo>
                    <a:cubicBezTo>
                      <a:pt x="1800" y="90"/>
                      <a:pt x="2084" y="203"/>
                      <a:pt x="2329" y="378"/>
                    </a:cubicBezTo>
                    <a:cubicBezTo>
                      <a:pt x="2335" y="378"/>
                      <a:pt x="2335" y="378"/>
                      <a:pt x="2335" y="378"/>
                    </a:cubicBezTo>
                    <a:cubicBezTo>
                      <a:pt x="2335" y="378"/>
                      <a:pt x="2335" y="378"/>
                      <a:pt x="2335" y="378"/>
                    </a:cubicBezTo>
                    <a:cubicBezTo>
                      <a:pt x="2139" y="237"/>
                      <a:pt x="1911" y="132"/>
                      <a:pt x="1676" y="75"/>
                    </a:cubicBezTo>
                    <a:cubicBezTo>
                      <a:pt x="1632" y="65"/>
                      <a:pt x="1588" y="56"/>
                      <a:pt x="1545" y="49"/>
                    </a:cubicBezTo>
                    <a:cubicBezTo>
                      <a:pt x="1854" y="80"/>
                      <a:pt x="2173" y="194"/>
                      <a:pt x="2441" y="378"/>
                    </a:cubicBezTo>
                    <a:cubicBezTo>
                      <a:pt x="2445" y="378"/>
                      <a:pt x="2445" y="378"/>
                      <a:pt x="2445" y="378"/>
                    </a:cubicBezTo>
                    <a:cubicBezTo>
                      <a:pt x="2446" y="377"/>
                      <a:pt x="2446" y="377"/>
                      <a:pt x="2446" y="377"/>
                    </a:cubicBezTo>
                    <a:cubicBezTo>
                      <a:pt x="2231" y="228"/>
                      <a:pt x="1980" y="123"/>
                      <a:pt x="1722" y="71"/>
                    </a:cubicBezTo>
                    <a:cubicBezTo>
                      <a:pt x="1666" y="60"/>
                      <a:pt x="1611" y="52"/>
                      <a:pt x="1557" y="46"/>
                    </a:cubicBezTo>
                    <a:cubicBezTo>
                      <a:pt x="1557" y="46"/>
                      <a:pt x="1558" y="46"/>
                      <a:pt x="1559" y="46"/>
                    </a:cubicBezTo>
                    <a:cubicBezTo>
                      <a:pt x="1892" y="62"/>
                      <a:pt x="2229" y="168"/>
                      <a:pt x="2521" y="353"/>
                    </a:cubicBezTo>
                    <a:cubicBezTo>
                      <a:pt x="2521" y="349"/>
                      <a:pt x="2521" y="349"/>
                      <a:pt x="2521" y="349"/>
                    </a:cubicBezTo>
                    <a:cubicBezTo>
                      <a:pt x="2285" y="199"/>
                      <a:pt x="2025" y="102"/>
                      <a:pt x="1747" y="61"/>
                    </a:cubicBezTo>
                    <a:cubicBezTo>
                      <a:pt x="1696" y="54"/>
                      <a:pt x="1644" y="48"/>
                      <a:pt x="1593" y="45"/>
                    </a:cubicBezTo>
                    <a:cubicBezTo>
                      <a:pt x="1867" y="48"/>
                      <a:pt x="2190" y="105"/>
                      <a:pt x="2521" y="282"/>
                    </a:cubicBezTo>
                    <a:cubicBezTo>
                      <a:pt x="2521" y="278"/>
                      <a:pt x="2521" y="278"/>
                      <a:pt x="2521" y="278"/>
                    </a:cubicBezTo>
                    <a:cubicBezTo>
                      <a:pt x="2277" y="147"/>
                      <a:pt x="2012" y="70"/>
                      <a:pt x="1734" y="48"/>
                    </a:cubicBezTo>
                    <a:cubicBezTo>
                      <a:pt x="1702" y="45"/>
                      <a:pt x="1670" y="43"/>
                      <a:pt x="1638" y="4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16" name="Freeform 15"/>
              <p:cNvSpPr>
                <a:spLocks/>
              </p:cNvSpPr>
              <p:nvPr/>
            </p:nvSpPr>
            <p:spPr bwMode="auto">
              <a:xfrm>
                <a:off x="-1198563" y="1439863"/>
                <a:ext cx="9974263" cy="3071812"/>
              </a:xfrm>
              <a:custGeom>
                <a:avLst/>
                <a:gdLst>
                  <a:gd name="T0" fmla="*/ 2660 w 2660"/>
                  <a:gd name="T1" fmla="*/ 0 h 819"/>
                  <a:gd name="T2" fmla="*/ 1409 w 2660"/>
                  <a:gd name="T3" fmla="*/ 441 h 819"/>
                  <a:gd name="T4" fmla="*/ 1385 w 2660"/>
                  <a:gd name="T5" fmla="*/ 450 h 819"/>
                  <a:gd name="T6" fmla="*/ 1369 w 2660"/>
                  <a:gd name="T7" fmla="*/ 456 h 819"/>
                  <a:gd name="T8" fmla="*/ 1342 w 2660"/>
                  <a:gd name="T9" fmla="*/ 466 h 819"/>
                  <a:gd name="T10" fmla="*/ 1325 w 2660"/>
                  <a:gd name="T11" fmla="*/ 472 h 819"/>
                  <a:gd name="T12" fmla="*/ 1303 w 2660"/>
                  <a:gd name="T13" fmla="*/ 479 h 819"/>
                  <a:gd name="T14" fmla="*/ 1282 w 2660"/>
                  <a:gd name="T15" fmla="*/ 486 h 819"/>
                  <a:gd name="T16" fmla="*/ 1251 w 2660"/>
                  <a:gd name="T17" fmla="*/ 495 h 819"/>
                  <a:gd name="T18" fmla="*/ 0 w 2660"/>
                  <a:gd name="T19" fmla="*/ 819 h 819"/>
                  <a:gd name="T20" fmla="*/ 21 w 2660"/>
                  <a:gd name="T21" fmla="*/ 819 h 819"/>
                  <a:gd name="T22" fmla="*/ 990 w 2660"/>
                  <a:gd name="T23" fmla="*/ 578 h 819"/>
                  <a:gd name="T24" fmla="*/ 52 w 2660"/>
                  <a:gd name="T25" fmla="*/ 819 h 819"/>
                  <a:gd name="T26" fmla="*/ 72 w 2660"/>
                  <a:gd name="T27" fmla="*/ 819 h 819"/>
                  <a:gd name="T28" fmla="*/ 1018 w 2660"/>
                  <a:gd name="T29" fmla="*/ 573 h 819"/>
                  <a:gd name="T30" fmla="*/ 105 w 2660"/>
                  <a:gd name="T31" fmla="*/ 819 h 819"/>
                  <a:gd name="T32" fmla="*/ 124 w 2660"/>
                  <a:gd name="T33" fmla="*/ 819 h 819"/>
                  <a:gd name="T34" fmla="*/ 1063 w 2660"/>
                  <a:gd name="T35" fmla="*/ 563 h 819"/>
                  <a:gd name="T36" fmla="*/ 158 w 2660"/>
                  <a:gd name="T37" fmla="*/ 819 h 819"/>
                  <a:gd name="T38" fmla="*/ 176 w 2660"/>
                  <a:gd name="T39" fmla="*/ 819 h 819"/>
                  <a:gd name="T40" fmla="*/ 1096 w 2660"/>
                  <a:gd name="T41" fmla="*/ 556 h 819"/>
                  <a:gd name="T42" fmla="*/ 211 w 2660"/>
                  <a:gd name="T43" fmla="*/ 819 h 819"/>
                  <a:gd name="T44" fmla="*/ 228 w 2660"/>
                  <a:gd name="T45" fmla="*/ 819 h 819"/>
                  <a:gd name="T46" fmla="*/ 1131 w 2660"/>
                  <a:gd name="T47" fmla="*/ 548 h 819"/>
                  <a:gd name="T48" fmla="*/ 264 w 2660"/>
                  <a:gd name="T49" fmla="*/ 819 h 819"/>
                  <a:gd name="T50" fmla="*/ 281 w 2660"/>
                  <a:gd name="T51" fmla="*/ 819 h 819"/>
                  <a:gd name="T52" fmla="*/ 1161 w 2660"/>
                  <a:gd name="T53" fmla="*/ 541 h 819"/>
                  <a:gd name="T54" fmla="*/ 318 w 2660"/>
                  <a:gd name="T55" fmla="*/ 819 h 819"/>
                  <a:gd name="T56" fmla="*/ 334 w 2660"/>
                  <a:gd name="T57" fmla="*/ 819 h 819"/>
                  <a:gd name="T58" fmla="*/ 1193 w 2660"/>
                  <a:gd name="T59" fmla="*/ 533 h 819"/>
                  <a:gd name="T60" fmla="*/ 372 w 2660"/>
                  <a:gd name="T61" fmla="*/ 819 h 819"/>
                  <a:gd name="T62" fmla="*/ 387 w 2660"/>
                  <a:gd name="T63" fmla="*/ 819 h 819"/>
                  <a:gd name="T64" fmla="*/ 1335 w 2660"/>
                  <a:gd name="T65" fmla="*/ 477 h 819"/>
                  <a:gd name="T66" fmla="*/ 1346 w 2660"/>
                  <a:gd name="T67" fmla="*/ 472 h 819"/>
                  <a:gd name="T68" fmla="*/ 2660 w 2660"/>
                  <a:gd name="T69" fmla="*/ 217 h 819"/>
                  <a:gd name="T70" fmla="*/ 2660 w 2660"/>
                  <a:gd name="T71" fmla="*/ 213 h 819"/>
                  <a:gd name="T72" fmla="*/ 1454 w 2660"/>
                  <a:gd name="T73" fmla="*/ 439 h 819"/>
                  <a:gd name="T74" fmla="*/ 2660 w 2660"/>
                  <a:gd name="T75" fmla="*/ 187 h 819"/>
                  <a:gd name="T76" fmla="*/ 2660 w 2660"/>
                  <a:gd name="T77" fmla="*/ 183 h 819"/>
                  <a:gd name="T78" fmla="*/ 1481 w 2660"/>
                  <a:gd name="T79" fmla="*/ 428 h 819"/>
                  <a:gd name="T80" fmla="*/ 2660 w 2660"/>
                  <a:gd name="T81" fmla="*/ 156 h 819"/>
                  <a:gd name="T82" fmla="*/ 2660 w 2660"/>
                  <a:gd name="T83" fmla="*/ 152 h 819"/>
                  <a:gd name="T84" fmla="*/ 1509 w 2660"/>
                  <a:gd name="T85" fmla="*/ 415 h 819"/>
                  <a:gd name="T86" fmla="*/ 2660 w 2660"/>
                  <a:gd name="T87" fmla="*/ 126 h 819"/>
                  <a:gd name="T88" fmla="*/ 2660 w 2660"/>
                  <a:gd name="T89" fmla="*/ 122 h 819"/>
                  <a:gd name="T90" fmla="*/ 1514 w 2660"/>
                  <a:gd name="T91" fmla="*/ 409 h 819"/>
                  <a:gd name="T92" fmla="*/ 2660 w 2660"/>
                  <a:gd name="T93" fmla="*/ 95 h 819"/>
                  <a:gd name="T94" fmla="*/ 2660 w 2660"/>
                  <a:gd name="T95" fmla="*/ 91 h 819"/>
                  <a:gd name="T96" fmla="*/ 1548 w 2660"/>
                  <a:gd name="T97" fmla="*/ 394 h 819"/>
                  <a:gd name="T98" fmla="*/ 2660 w 2660"/>
                  <a:gd name="T99" fmla="*/ 65 h 819"/>
                  <a:gd name="T100" fmla="*/ 2660 w 2660"/>
                  <a:gd name="T101" fmla="*/ 61 h 819"/>
                  <a:gd name="T102" fmla="*/ 1566 w 2660"/>
                  <a:gd name="T103" fmla="*/ 383 h 819"/>
                  <a:gd name="T104" fmla="*/ 2660 w 2660"/>
                  <a:gd name="T105" fmla="*/ 35 h 819"/>
                  <a:gd name="T106" fmla="*/ 2660 w 2660"/>
                  <a:gd name="T107" fmla="*/ 31 h 819"/>
                  <a:gd name="T108" fmla="*/ 1584 w 2660"/>
                  <a:gd name="T109" fmla="*/ 371 h 819"/>
                  <a:gd name="T110" fmla="*/ 2660 w 2660"/>
                  <a:gd name="T111" fmla="*/ 4 h 819"/>
                  <a:gd name="T112" fmla="*/ 2660 w 2660"/>
                  <a:gd name="T113"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0" h="819">
                    <a:moveTo>
                      <a:pt x="2660" y="0"/>
                    </a:moveTo>
                    <a:cubicBezTo>
                      <a:pt x="2424" y="40"/>
                      <a:pt x="1981" y="196"/>
                      <a:pt x="1409" y="441"/>
                    </a:cubicBezTo>
                    <a:cubicBezTo>
                      <a:pt x="1401" y="444"/>
                      <a:pt x="1393" y="447"/>
                      <a:pt x="1385" y="450"/>
                    </a:cubicBezTo>
                    <a:cubicBezTo>
                      <a:pt x="1380" y="452"/>
                      <a:pt x="1374" y="454"/>
                      <a:pt x="1369" y="456"/>
                    </a:cubicBezTo>
                    <a:cubicBezTo>
                      <a:pt x="1360" y="460"/>
                      <a:pt x="1350" y="463"/>
                      <a:pt x="1342" y="466"/>
                    </a:cubicBezTo>
                    <a:cubicBezTo>
                      <a:pt x="1336" y="468"/>
                      <a:pt x="1331" y="470"/>
                      <a:pt x="1325" y="472"/>
                    </a:cubicBezTo>
                    <a:cubicBezTo>
                      <a:pt x="1318" y="475"/>
                      <a:pt x="1310" y="477"/>
                      <a:pt x="1303" y="479"/>
                    </a:cubicBezTo>
                    <a:cubicBezTo>
                      <a:pt x="1296" y="482"/>
                      <a:pt x="1289" y="484"/>
                      <a:pt x="1282" y="486"/>
                    </a:cubicBezTo>
                    <a:cubicBezTo>
                      <a:pt x="1271" y="489"/>
                      <a:pt x="1261" y="492"/>
                      <a:pt x="1251" y="495"/>
                    </a:cubicBezTo>
                    <a:cubicBezTo>
                      <a:pt x="791" y="638"/>
                      <a:pt x="347" y="753"/>
                      <a:pt x="0" y="819"/>
                    </a:cubicBezTo>
                    <a:cubicBezTo>
                      <a:pt x="21" y="819"/>
                      <a:pt x="21" y="819"/>
                      <a:pt x="21" y="819"/>
                    </a:cubicBezTo>
                    <a:cubicBezTo>
                      <a:pt x="298" y="765"/>
                      <a:pt x="634" y="681"/>
                      <a:pt x="990" y="578"/>
                    </a:cubicBezTo>
                    <a:cubicBezTo>
                      <a:pt x="648" y="681"/>
                      <a:pt x="328" y="764"/>
                      <a:pt x="52" y="819"/>
                    </a:cubicBezTo>
                    <a:cubicBezTo>
                      <a:pt x="72" y="819"/>
                      <a:pt x="72" y="819"/>
                      <a:pt x="72" y="819"/>
                    </a:cubicBezTo>
                    <a:cubicBezTo>
                      <a:pt x="351" y="762"/>
                      <a:pt x="674" y="679"/>
                      <a:pt x="1018" y="573"/>
                    </a:cubicBezTo>
                    <a:cubicBezTo>
                      <a:pt x="689" y="678"/>
                      <a:pt x="377" y="762"/>
                      <a:pt x="105" y="819"/>
                    </a:cubicBezTo>
                    <a:cubicBezTo>
                      <a:pt x="124" y="819"/>
                      <a:pt x="124" y="819"/>
                      <a:pt x="124" y="819"/>
                    </a:cubicBezTo>
                    <a:cubicBezTo>
                      <a:pt x="404" y="760"/>
                      <a:pt x="724" y="672"/>
                      <a:pt x="1063" y="563"/>
                    </a:cubicBezTo>
                    <a:cubicBezTo>
                      <a:pt x="737" y="673"/>
                      <a:pt x="433" y="759"/>
                      <a:pt x="158" y="819"/>
                    </a:cubicBezTo>
                    <a:cubicBezTo>
                      <a:pt x="176" y="819"/>
                      <a:pt x="176" y="819"/>
                      <a:pt x="176" y="819"/>
                    </a:cubicBezTo>
                    <a:cubicBezTo>
                      <a:pt x="456" y="757"/>
                      <a:pt x="764" y="669"/>
                      <a:pt x="1096" y="556"/>
                    </a:cubicBezTo>
                    <a:cubicBezTo>
                      <a:pt x="776" y="670"/>
                      <a:pt x="484" y="756"/>
                      <a:pt x="211" y="819"/>
                    </a:cubicBezTo>
                    <a:cubicBezTo>
                      <a:pt x="228" y="819"/>
                      <a:pt x="228" y="819"/>
                      <a:pt x="228" y="819"/>
                    </a:cubicBezTo>
                    <a:cubicBezTo>
                      <a:pt x="507" y="754"/>
                      <a:pt x="804" y="665"/>
                      <a:pt x="1131" y="548"/>
                    </a:cubicBezTo>
                    <a:cubicBezTo>
                      <a:pt x="814" y="667"/>
                      <a:pt x="535" y="754"/>
                      <a:pt x="264" y="819"/>
                    </a:cubicBezTo>
                    <a:cubicBezTo>
                      <a:pt x="281" y="819"/>
                      <a:pt x="281" y="819"/>
                      <a:pt x="281" y="819"/>
                    </a:cubicBezTo>
                    <a:cubicBezTo>
                      <a:pt x="556" y="752"/>
                      <a:pt x="839" y="663"/>
                      <a:pt x="1161" y="541"/>
                    </a:cubicBezTo>
                    <a:cubicBezTo>
                      <a:pt x="848" y="665"/>
                      <a:pt x="583" y="752"/>
                      <a:pt x="318" y="819"/>
                    </a:cubicBezTo>
                    <a:cubicBezTo>
                      <a:pt x="334" y="819"/>
                      <a:pt x="334" y="819"/>
                      <a:pt x="334" y="819"/>
                    </a:cubicBezTo>
                    <a:cubicBezTo>
                      <a:pt x="603" y="750"/>
                      <a:pt x="873" y="660"/>
                      <a:pt x="1193" y="533"/>
                    </a:cubicBezTo>
                    <a:cubicBezTo>
                      <a:pt x="881" y="663"/>
                      <a:pt x="629" y="750"/>
                      <a:pt x="372" y="819"/>
                    </a:cubicBezTo>
                    <a:cubicBezTo>
                      <a:pt x="387" y="819"/>
                      <a:pt x="387" y="819"/>
                      <a:pt x="387" y="819"/>
                    </a:cubicBezTo>
                    <a:cubicBezTo>
                      <a:pt x="677" y="741"/>
                      <a:pt x="961" y="638"/>
                      <a:pt x="1335" y="477"/>
                    </a:cubicBezTo>
                    <a:cubicBezTo>
                      <a:pt x="1339" y="475"/>
                      <a:pt x="1342" y="474"/>
                      <a:pt x="1346" y="472"/>
                    </a:cubicBezTo>
                    <a:cubicBezTo>
                      <a:pt x="1637" y="392"/>
                      <a:pt x="2266" y="249"/>
                      <a:pt x="2660" y="217"/>
                    </a:cubicBezTo>
                    <a:cubicBezTo>
                      <a:pt x="2660" y="213"/>
                      <a:pt x="2660" y="213"/>
                      <a:pt x="2660" y="213"/>
                    </a:cubicBezTo>
                    <a:cubicBezTo>
                      <a:pt x="2310" y="241"/>
                      <a:pt x="1773" y="358"/>
                      <a:pt x="1454" y="439"/>
                    </a:cubicBezTo>
                    <a:cubicBezTo>
                      <a:pt x="1770" y="351"/>
                      <a:pt x="2312" y="219"/>
                      <a:pt x="2660" y="187"/>
                    </a:cubicBezTo>
                    <a:cubicBezTo>
                      <a:pt x="2660" y="183"/>
                      <a:pt x="2660" y="183"/>
                      <a:pt x="2660" y="183"/>
                    </a:cubicBezTo>
                    <a:cubicBezTo>
                      <a:pt x="2322" y="214"/>
                      <a:pt x="1801" y="339"/>
                      <a:pt x="1481" y="428"/>
                    </a:cubicBezTo>
                    <a:cubicBezTo>
                      <a:pt x="1796" y="333"/>
                      <a:pt x="2323" y="191"/>
                      <a:pt x="2660" y="156"/>
                    </a:cubicBezTo>
                    <a:cubicBezTo>
                      <a:pt x="2660" y="152"/>
                      <a:pt x="2660" y="152"/>
                      <a:pt x="2660" y="152"/>
                    </a:cubicBezTo>
                    <a:cubicBezTo>
                      <a:pt x="2333" y="186"/>
                      <a:pt x="1826" y="321"/>
                      <a:pt x="1509" y="415"/>
                    </a:cubicBezTo>
                    <a:cubicBezTo>
                      <a:pt x="1817" y="316"/>
                      <a:pt x="2333" y="163"/>
                      <a:pt x="2660" y="126"/>
                    </a:cubicBezTo>
                    <a:cubicBezTo>
                      <a:pt x="2660" y="122"/>
                      <a:pt x="2660" y="122"/>
                      <a:pt x="2660" y="122"/>
                    </a:cubicBezTo>
                    <a:cubicBezTo>
                      <a:pt x="2335" y="159"/>
                      <a:pt x="1823" y="310"/>
                      <a:pt x="1514" y="409"/>
                    </a:cubicBezTo>
                    <a:cubicBezTo>
                      <a:pt x="1834" y="299"/>
                      <a:pt x="2350" y="135"/>
                      <a:pt x="2660" y="95"/>
                    </a:cubicBezTo>
                    <a:cubicBezTo>
                      <a:pt x="2660" y="91"/>
                      <a:pt x="2660" y="91"/>
                      <a:pt x="2660" y="91"/>
                    </a:cubicBezTo>
                    <a:cubicBezTo>
                      <a:pt x="2361" y="129"/>
                      <a:pt x="1869" y="283"/>
                      <a:pt x="1548" y="394"/>
                    </a:cubicBezTo>
                    <a:cubicBezTo>
                      <a:pt x="1845" y="284"/>
                      <a:pt x="2354" y="108"/>
                      <a:pt x="2660" y="65"/>
                    </a:cubicBezTo>
                    <a:cubicBezTo>
                      <a:pt x="2660" y="61"/>
                      <a:pt x="2660" y="61"/>
                      <a:pt x="2660" y="61"/>
                    </a:cubicBezTo>
                    <a:cubicBezTo>
                      <a:pt x="2360" y="103"/>
                      <a:pt x="1866" y="273"/>
                      <a:pt x="1566" y="383"/>
                    </a:cubicBezTo>
                    <a:cubicBezTo>
                      <a:pt x="1874" y="262"/>
                      <a:pt x="2372" y="79"/>
                      <a:pt x="2660" y="35"/>
                    </a:cubicBezTo>
                    <a:cubicBezTo>
                      <a:pt x="2660" y="31"/>
                      <a:pt x="2660" y="31"/>
                      <a:pt x="2660" y="31"/>
                    </a:cubicBezTo>
                    <a:cubicBezTo>
                      <a:pt x="2378" y="74"/>
                      <a:pt x="1893" y="251"/>
                      <a:pt x="1584" y="371"/>
                    </a:cubicBezTo>
                    <a:cubicBezTo>
                      <a:pt x="2071" y="169"/>
                      <a:pt x="2448" y="40"/>
                      <a:pt x="2660" y="4"/>
                    </a:cubicBezTo>
                    <a:lnTo>
                      <a:pt x="266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a:p>
            </p:txBody>
          </p:sp>
        </p:grpSp>
        <p:grpSp>
          <p:nvGrpSpPr>
            <p:cNvPr id="25" name="Gruppieren 24"/>
            <p:cNvGrpSpPr/>
            <p:nvPr/>
          </p:nvGrpSpPr>
          <p:grpSpPr>
            <a:xfrm>
              <a:off x="158750" y="2279650"/>
              <a:ext cx="8616950" cy="2232025"/>
              <a:chOff x="158750" y="2279650"/>
              <a:chExt cx="8616950" cy="2232025"/>
            </a:xfrm>
            <a:solidFill>
              <a:schemeClr val="accent3"/>
            </a:solidFill>
          </p:grpSpPr>
          <p:sp>
            <p:nvSpPr>
              <p:cNvPr id="17" name="Freeform 16"/>
              <p:cNvSpPr>
                <a:spLocks/>
              </p:cNvSpPr>
              <p:nvPr/>
            </p:nvSpPr>
            <p:spPr bwMode="auto">
              <a:xfrm>
                <a:off x="158750" y="2279650"/>
                <a:ext cx="8616950" cy="2232025"/>
              </a:xfrm>
              <a:custGeom>
                <a:avLst/>
                <a:gdLst>
                  <a:gd name="T0" fmla="*/ 2298 w 2298"/>
                  <a:gd name="T1" fmla="*/ 0 h 595"/>
                  <a:gd name="T2" fmla="*/ 1148 w 2298"/>
                  <a:gd name="T3" fmla="*/ 241 h 595"/>
                  <a:gd name="T4" fmla="*/ 1018 w 2298"/>
                  <a:gd name="T5" fmla="*/ 291 h 595"/>
                  <a:gd name="T6" fmla="*/ 0 w 2298"/>
                  <a:gd name="T7" fmla="*/ 595 h 595"/>
                  <a:gd name="T8" fmla="*/ 23 w 2298"/>
                  <a:gd name="T9" fmla="*/ 595 h 595"/>
                  <a:gd name="T10" fmla="*/ 1020 w 2298"/>
                  <a:gd name="T11" fmla="*/ 295 h 595"/>
                  <a:gd name="T12" fmla="*/ 1150 w 2298"/>
                  <a:gd name="T13" fmla="*/ 245 h 595"/>
                  <a:gd name="T14" fmla="*/ 2298 w 2298"/>
                  <a:gd name="T15" fmla="*/ 4 h 595"/>
                  <a:gd name="T16" fmla="*/ 2298 w 2298"/>
                  <a:gd name="T17"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8" h="595">
                    <a:moveTo>
                      <a:pt x="2298" y="0"/>
                    </a:moveTo>
                    <a:cubicBezTo>
                      <a:pt x="1892" y="40"/>
                      <a:pt x="1366" y="159"/>
                      <a:pt x="1148" y="241"/>
                    </a:cubicBezTo>
                    <a:cubicBezTo>
                      <a:pt x="1104" y="258"/>
                      <a:pt x="1061" y="275"/>
                      <a:pt x="1018" y="291"/>
                    </a:cubicBezTo>
                    <a:cubicBezTo>
                      <a:pt x="693" y="415"/>
                      <a:pt x="408" y="523"/>
                      <a:pt x="0" y="595"/>
                    </a:cubicBezTo>
                    <a:cubicBezTo>
                      <a:pt x="23" y="595"/>
                      <a:pt x="23" y="595"/>
                      <a:pt x="23" y="595"/>
                    </a:cubicBezTo>
                    <a:cubicBezTo>
                      <a:pt x="419" y="523"/>
                      <a:pt x="700" y="416"/>
                      <a:pt x="1020" y="295"/>
                    </a:cubicBezTo>
                    <a:cubicBezTo>
                      <a:pt x="1062" y="278"/>
                      <a:pt x="1105" y="262"/>
                      <a:pt x="1150" y="245"/>
                    </a:cubicBezTo>
                    <a:cubicBezTo>
                      <a:pt x="1342" y="173"/>
                      <a:pt x="1871" y="46"/>
                      <a:pt x="2298" y="4"/>
                    </a:cubicBezTo>
                    <a:lnTo>
                      <a:pt x="22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8" name="Freeform 17"/>
              <p:cNvSpPr>
                <a:spLocks/>
              </p:cNvSpPr>
              <p:nvPr/>
            </p:nvSpPr>
            <p:spPr bwMode="auto">
              <a:xfrm>
                <a:off x="260350" y="2455863"/>
                <a:ext cx="8515350" cy="2055812"/>
              </a:xfrm>
              <a:custGeom>
                <a:avLst/>
                <a:gdLst>
                  <a:gd name="T0" fmla="*/ 2271 w 2271"/>
                  <a:gd name="T1" fmla="*/ 0 h 548"/>
                  <a:gd name="T2" fmla="*/ 1129 w 2271"/>
                  <a:gd name="T3" fmla="*/ 207 h 548"/>
                  <a:gd name="T4" fmla="*/ 1009 w 2271"/>
                  <a:gd name="T5" fmla="*/ 252 h 548"/>
                  <a:gd name="T6" fmla="*/ 0 w 2271"/>
                  <a:gd name="T7" fmla="*/ 548 h 548"/>
                  <a:gd name="T8" fmla="*/ 0 w 2271"/>
                  <a:gd name="T9" fmla="*/ 548 h 548"/>
                  <a:gd name="T10" fmla="*/ 22 w 2271"/>
                  <a:gd name="T11" fmla="*/ 548 h 548"/>
                  <a:gd name="T12" fmla="*/ 1011 w 2271"/>
                  <a:gd name="T13" fmla="*/ 256 h 548"/>
                  <a:gd name="T14" fmla="*/ 1130 w 2271"/>
                  <a:gd name="T15" fmla="*/ 211 h 548"/>
                  <a:gd name="T16" fmla="*/ 2271 w 2271"/>
                  <a:gd name="T17" fmla="*/ 4 h 548"/>
                  <a:gd name="T18" fmla="*/ 2271 w 2271"/>
                  <a:gd name="T1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1" h="548">
                    <a:moveTo>
                      <a:pt x="2271" y="0"/>
                    </a:moveTo>
                    <a:cubicBezTo>
                      <a:pt x="1869" y="21"/>
                      <a:pt x="1346" y="126"/>
                      <a:pt x="1129" y="207"/>
                    </a:cubicBezTo>
                    <a:cubicBezTo>
                      <a:pt x="1088" y="222"/>
                      <a:pt x="1048" y="237"/>
                      <a:pt x="1009" y="252"/>
                    </a:cubicBezTo>
                    <a:cubicBezTo>
                      <a:pt x="676" y="378"/>
                      <a:pt x="413" y="477"/>
                      <a:pt x="0" y="548"/>
                    </a:cubicBezTo>
                    <a:cubicBezTo>
                      <a:pt x="0" y="548"/>
                      <a:pt x="0" y="548"/>
                      <a:pt x="0" y="548"/>
                    </a:cubicBezTo>
                    <a:cubicBezTo>
                      <a:pt x="22" y="548"/>
                      <a:pt x="22" y="548"/>
                      <a:pt x="22" y="548"/>
                    </a:cubicBezTo>
                    <a:cubicBezTo>
                      <a:pt x="423" y="477"/>
                      <a:pt x="683" y="379"/>
                      <a:pt x="1011" y="256"/>
                    </a:cubicBezTo>
                    <a:cubicBezTo>
                      <a:pt x="1049" y="241"/>
                      <a:pt x="1089" y="226"/>
                      <a:pt x="1130" y="211"/>
                    </a:cubicBezTo>
                    <a:cubicBezTo>
                      <a:pt x="1348" y="130"/>
                      <a:pt x="1869" y="25"/>
                      <a:pt x="2271" y="4"/>
                    </a:cubicBezTo>
                    <a:lnTo>
                      <a:pt x="2271"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9" name="Freeform 18"/>
              <p:cNvSpPr>
                <a:spLocks/>
              </p:cNvSpPr>
              <p:nvPr/>
            </p:nvSpPr>
            <p:spPr bwMode="auto">
              <a:xfrm>
                <a:off x="360362" y="2628900"/>
                <a:ext cx="8415338" cy="1882775"/>
              </a:xfrm>
              <a:custGeom>
                <a:avLst/>
                <a:gdLst>
                  <a:gd name="T0" fmla="*/ 2244 w 2244"/>
                  <a:gd name="T1" fmla="*/ 0 h 502"/>
                  <a:gd name="T2" fmla="*/ 1109 w 2244"/>
                  <a:gd name="T3" fmla="*/ 173 h 502"/>
                  <a:gd name="T4" fmla="*/ 1000 w 2244"/>
                  <a:gd name="T5" fmla="*/ 214 h 502"/>
                  <a:gd name="T6" fmla="*/ 0 w 2244"/>
                  <a:gd name="T7" fmla="*/ 502 h 502"/>
                  <a:gd name="T8" fmla="*/ 24 w 2244"/>
                  <a:gd name="T9" fmla="*/ 502 h 502"/>
                  <a:gd name="T10" fmla="*/ 1002 w 2244"/>
                  <a:gd name="T11" fmla="*/ 218 h 502"/>
                  <a:gd name="T12" fmla="*/ 1110 w 2244"/>
                  <a:gd name="T13" fmla="*/ 177 h 502"/>
                  <a:gd name="T14" fmla="*/ 2244 w 2244"/>
                  <a:gd name="T15" fmla="*/ 4 h 502"/>
                  <a:gd name="T16" fmla="*/ 2244 w 2244"/>
                  <a:gd name="T17"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4" h="502">
                    <a:moveTo>
                      <a:pt x="2244" y="0"/>
                    </a:moveTo>
                    <a:cubicBezTo>
                      <a:pt x="1842" y="1"/>
                      <a:pt x="1333" y="91"/>
                      <a:pt x="1109" y="173"/>
                    </a:cubicBezTo>
                    <a:cubicBezTo>
                      <a:pt x="1072" y="187"/>
                      <a:pt x="1035" y="201"/>
                      <a:pt x="1000" y="214"/>
                    </a:cubicBezTo>
                    <a:cubicBezTo>
                      <a:pt x="675" y="336"/>
                      <a:pt x="418" y="432"/>
                      <a:pt x="0" y="502"/>
                    </a:cubicBezTo>
                    <a:cubicBezTo>
                      <a:pt x="24" y="502"/>
                      <a:pt x="24" y="502"/>
                      <a:pt x="24" y="502"/>
                    </a:cubicBezTo>
                    <a:cubicBezTo>
                      <a:pt x="428" y="432"/>
                      <a:pt x="682" y="337"/>
                      <a:pt x="1002" y="218"/>
                    </a:cubicBezTo>
                    <a:cubicBezTo>
                      <a:pt x="1037" y="204"/>
                      <a:pt x="1073" y="191"/>
                      <a:pt x="1110" y="177"/>
                    </a:cubicBezTo>
                    <a:cubicBezTo>
                      <a:pt x="1334" y="95"/>
                      <a:pt x="1842" y="5"/>
                      <a:pt x="2244" y="4"/>
                    </a:cubicBezTo>
                    <a:lnTo>
                      <a:pt x="2244"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0" name="Freeform 19"/>
              <p:cNvSpPr>
                <a:spLocks/>
              </p:cNvSpPr>
              <p:nvPr/>
            </p:nvSpPr>
            <p:spPr bwMode="auto">
              <a:xfrm>
                <a:off x="481012" y="2736850"/>
                <a:ext cx="8294688" cy="1774825"/>
              </a:xfrm>
              <a:custGeom>
                <a:avLst/>
                <a:gdLst>
                  <a:gd name="T0" fmla="*/ 2212 w 2212"/>
                  <a:gd name="T1" fmla="*/ 16 h 473"/>
                  <a:gd name="T2" fmla="*/ 1084 w 2212"/>
                  <a:gd name="T3" fmla="*/ 157 h 473"/>
                  <a:gd name="T4" fmla="*/ 986 w 2212"/>
                  <a:gd name="T5" fmla="*/ 193 h 473"/>
                  <a:gd name="T6" fmla="*/ 0 w 2212"/>
                  <a:gd name="T7" fmla="*/ 472 h 473"/>
                  <a:gd name="T8" fmla="*/ 0 w 2212"/>
                  <a:gd name="T9" fmla="*/ 473 h 473"/>
                  <a:gd name="T10" fmla="*/ 20 w 2212"/>
                  <a:gd name="T11" fmla="*/ 473 h 473"/>
                  <a:gd name="T12" fmla="*/ 988 w 2212"/>
                  <a:gd name="T13" fmla="*/ 197 h 473"/>
                  <a:gd name="T14" fmla="*/ 1085 w 2212"/>
                  <a:gd name="T15" fmla="*/ 161 h 473"/>
                  <a:gd name="T16" fmla="*/ 2212 w 2212"/>
                  <a:gd name="T17" fmla="*/ 20 h 473"/>
                  <a:gd name="T18" fmla="*/ 2212 w 2212"/>
                  <a:gd name="T19" fmla="*/ 1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2" h="473">
                    <a:moveTo>
                      <a:pt x="2212" y="16"/>
                    </a:moveTo>
                    <a:cubicBezTo>
                      <a:pt x="1854" y="0"/>
                      <a:pt x="1338" y="64"/>
                      <a:pt x="1084" y="157"/>
                    </a:cubicBezTo>
                    <a:cubicBezTo>
                      <a:pt x="1050" y="169"/>
                      <a:pt x="1018" y="181"/>
                      <a:pt x="986" y="193"/>
                    </a:cubicBezTo>
                    <a:cubicBezTo>
                      <a:pt x="669" y="310"/>
                      <a:pt x="419" y="403"/>
                      <a:pt x="0" y="472"/>
                    </a:cubicBezTo>
                    <a:cubicBezTo>
                      <a:pt x="0" y="473"/>
                      <a:pt x="0" y="473"/>
                      <a:pt x="0" y="473"/>
                    </a:cubicBezTo>
                    <a:cubicBezTo>
                      <a:pt x="20" y="473"/>
                      <a:pt x="20" y="473"/>
                      <a:pt x="20" y="473"/>
                    </a:cubicBezTo>
                    <a:cubicBezTo>
                      <a:pt x="428" y="404"/>
                      <a:pt x="676" y="312"/>
                      <a:pt x="988" y="197"/>
                    </a:cubicBezTo>
                    <a:cubicBezTo>
                      <a:pt x="1019" y="185"/>
                      <a:pt x="1052" y="173"/>
                      <a:pt x="1085" y="161"/>
                    </a:cubicBezTo>
                    <a:cubicBezTo>
                      <a:pt x="1339" y="68"/>
                      <a:pt x="1855" y="4"/>
                      <a:pt x="2212" y="20"/>
                    </a:cubicBezTo>
                    <a:lnTo>
                      <a:pt x="2212"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1" name="Freeform 20"/>
              <p:cNvSpPr>
                <a:spLocks/>
              </p:cNvSpPr>
              <p:nvPr/>
            </p:nvSpPr>
            <p:spPr bwMode="auto">
              <a:xfrm>
                <a:off x="577850" y="2830513"/>
                <a:ext cx="8197850" cy="1681162"/>
              </a:xfrm>
              <a:custGeom>
                <a:avLst/>
                <a:gdLst>
                  <a:gd name="T0" fmla="*/ 2186 w 2186"/>
                  <a:gd name="T1" fmla="*/ 36 h 448"/>
                  <a:gd name="T2" fmla="*/ 1065 w 2186"/>
                  <a:gd name="T3" fmla="*/ 145 h 448"/>
                  <a:gd name="T4" fmla="*/ 978 w 2186"/>
                  <a:gd name="T5" fmla="*/ 176 h 448"/>
                  <a:gd name="T6" fmla="*/ 0 w 2186"/>
                  <a:gd name="T7" fmla="*/ 448 h 448"/>
                  <a:gd name="T8" fmla="*/ 24 w 2186"/>
                  <a:gd name="T9" fmla="*/ 448 h 448"/>
                  <a:gd name="T10" fmla="*/ 980 w 2186"/>
                  <a:gd name="T11" fmla="*/ 180 h 448"/>
                  <a:gd name="T12" fmla="*/ 1066 w 2186"/>
                  <a:gd name="T13" fmla="*/ 148 h 448"/>
                  <a:gd name="T14" fmla="*/ 2186 w 2186"/>
                  <a:gd name="T15" fmla="*/ 40 h 448"/>
                  <a:gd name="T16" fmla="*/ 2186 w 2186"/>
                  <a:gd name="T17" fmla="*/ 3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6" h="448">
                    <a:moveTo>
                      <a:pt x="2186" y="36"/>
                    </a:moveTo>
                    <a:cubicBezTo>
                      <a:pt x="1830" y="0"/>
                      <a:pt x="1328" y="49"/>
                      <a:pt x="1065" y="145"/>
                    </a:cubicBezTo>
                    <a:cubicBezTo>
                      <a:pt x="1035" y="155"/>
                      <a:pt x="1006" y="166"/>
                      <a:pt x="978" y="176"/>
                    </a:cubicBezTo>
                    <a:cubicBezTo>
                      <a:pt x="657" y="294"/>
                      <a:pt x="424" y="380"/>
                      <a:pt x="0" y="448"/>
                    </a:cubicBezTo>
                    <a:cubicBezTo>
                      <a:pt x="24" y="448"/>
                      <a:pt x="24" y="448"/>
                      <a:pt x="24" y="448"/>
                    </a:cubicBezTo>
                    <a:cubicBezTo>
                      <a:pt x="434" y="380"/>
                      <a:pt x="664" y="296"/>
                      <a:pt x="980" y="180"/>
                    </a:cubicBezTo>
                    <a:cubicBezTo>
                      <a:pt x="1008" y="170"/>
                      <a:pt x="1037" y="159"/>
                      <a:pt x="1066" y="148"/>
                    </a:cubicBezTo>
                    <a:cubicBezTo>
                      <a:pt x="1329" y="53"/>
                      <a:pt x="1831" y="4"/>
                      <a:pt x="2186" y="40"/>
                    </a:cubicBezTo>
                    <a:lnTo>
                      <a:pt x="218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Freeform 21"/>
              <p:cNvSpPr>
                <a:spLocks/>
              </p:cNvSpPr>
              <p:nvPr/>
            </p:nvSpPr>
            <p:spPr bwMode="auto">
              <a:xfrm>
                <a:off x="690562" y="2940050"/>
                <a:ext cx="8085138" cy="1571625"/>
              </a:xfrm>
              <a:custGeom>
                <a:avLst/>
                <a:gdLst>
                  <a:gd name="T0" fmla="*/ 2156 w 2156"/>
                  <a:gd name="T1" fmla="*/ 51 h 419"/>
                  <a:gd name="T2" fmla="*/ 1568 w 2156"/>
                  <a:gd name="T3" fmla="*/ 33 h 419"/>
                  <a:gd name="T4" fmla="*/ 1042 w 2156"/>
                  <a:gd name="T5" fmla="*/ 128 h 419"/>
                  <a:gd name="T6" fmla="*/ 967 w 2156"/>
                  <a:gd name="T7" fmla="*/ 155 h 419"/>
                  <a:gd name="T8" fmla="*/ 0 w 2156"/>
                  <a:gd name="T9" fmla="*/ 419 h 419"/>
                  <a:gd name="T10" fmla="*/ 26 w 2156"/>
                  <a:gd name="T11" fmla="*/ 419 h 419"/>
                  <a:gd name="T12" fmla="*/ 968 w 2156"/>
                  <a:gd name="T13" fmla="*/ 159 h 419"/>
                  <a:gd name="T14" fmla="*/ 1043 w 2156"/>
                  <a:gd name="T15" fmla="*/ 132 h 419"/>
                  <a:gd name="T16" fmla="*/ 2156 w 2156"/>
                  <a:gd name="T17" fmla="*/ 55 h 419"/>
                  <a:gd name="T18" fmla="*/ 2156 w 2156"/>
                  <a:gd name="T19" fmla="*/ 5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6" h="419">
                    <a:moveTo>
                      <a:pt x="2156" y="51"/>
                    </a:moveTo>
                    <a:cubicBezTo>
                      <a:pt x="1986" y="24"/>
                      <a:pt x="1777" y="18"/>
                      <a:pt x="1568" y="33"/>
                    </a:cubicBezTo>
                    <a:cubicBezTo>
                      <a:pt x="1359" y="47"/>
                      <a:pt x="1172" y="81"/>
                      <a:pt x="1042" y="128"/>
                    </a:cubicBezTo>
                    <a:cubicBezTo>
                      <a:pt x="1016" y="137"/>
                      <a:pt x="991" y="147"/>
                      <a:pt x="967" y="155"/>
                    </a:cubicBezTo>
                    <a:cubicBezTo>
                      <a:pt x="641" y="274"/>
                      <a:pt x="426" y="352"/>
                      <a:pt x="0" y="419"/>
                    </a:cubicBezTo>
                    <a:cubicBezTo>
                      <a:pt x="26" y="419"/>
                      <a:pt x="26" y="419"/>
                      <a:pt x="26" y="419"/>
                    </a:cubicBezTo>
                    <a:cubicBezTo>
                      <a:pt x="435" y="353"/>
                      <a:pt x="649" y="275"/>
                      <a:pt x="968" y="159"/>
                    </a:cubicBezTo>
                    <a:cubicBezTo>
                      <a:pt x="993" y="150"/>
                      <a:pt x="1018" y="141"/>
                      <a:pt x="1043" y="132"/>
                    </a:cubicBezTo>
                    <a:cubicBezTo>
                      <a:pt x="1315" y="34"/>
                      <a:pt x="1804" y="0"/>
                      <a:pt x="2156" y="55"/>
                    </a:cubicBezTo>
                    <a:lnTo>
                      <a:pt x="2156" y="5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3" name="Freeform 22"/>
              <p:cNvSpPr>
                <a:spLocks/>
              </p:cNvSpPr>
              <p:nvPr/>
            </p:nvSpPr>
            <p:spPr bwMode="auto">
              <a:xfrm>
                <a:off x="811212" y="3017838"/>
                <a:ext cx="7964488" cy="1493837"/>
              </a:xfrm>
              <a:custGeom>
                <a:avLst/>
                <a:gdLst>
                  <a:gd name="T0" fmla="*/ 2124 w 2124"/>
                  <a:gd name="T1" fmla="*/ 73 h 398"/>
                  <a:gd name="T2" fmla="*/ 1017 w 2124"/>
                  <a:gd name="T3" fmla="*/ 120 h 398"/>
                  <a:gd name="T4" fmla="*/ 953 w 2124"/>
                  <a:gd name="T5" fmla="*/ 143 h 398"/>
                  <a:gd name="T6" fmla="*/ 0 w 2124"/>
                  <a:gd name="T7" fmla="*/ 398 h 398"/>
                  <a:gd name="T8" fmla="*/ 26 w 2124"/>
                  <a:gd name="T9" fmla="*/ 398 h 398"/>
                  <a:gd name="T10" fmla="*/ 955 w 2124"/>
                  <a:gd name="T11" fmla="*/ 146 h 398"/>
                  <a:gd name="T12" fmla="*/ 1019 w 2124"/>
                  <a:gd name="T13" fmla="*/ 123 h 398"/>
                  <a:gd name="T14" fmla="*/ 2124 w 2124"/>
                  <a:gd name="T15" fmla="*/ 77 h 398"/>
                  <a:gd name="T16" fmla="*/ 2124 w 2124"/>
                  <a:gd name="T17" fmla="*/ 7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4" h="398">
                    <a:moveTo>
                      <a:pt x="2124" y="73"/>
                    </a:moveTo>
                    <a:cubicBezTo>
                      <a:pt x="1780" y="0"/>
                      <a:pt x="1295" y="20"/>
                      <a:pt x="1017" y="120"/>
                    </a:cubicBezTo>
                    <a:cubicBezTo>
                      <a:pt x="995" y="127"/>
                      <a:pt x="974" y="135"/>
                      <a:pt x="953" y="143"/>
                    </a:cubicBezTo>
                    <a:cubicBezTo>
                      <a:pt x="636" y="257"/>
                      <a:pt x="426" y="333"/>
                      <a:pt x="0" y="398"/>
                    </a:cubicBezTo>
                    <a:cubicBezTo>
                      <a:pt x="26" y="398"/>
                      <a:pt x="26" y="398"/>
                      <a:pt x="26" y="398"/>
                    </a:cubicBezTo>
                    <a:cubicBezTo>
                      <a:pt x="435" y="334"/>
                      <a:pt x="643" y="259"/>
                      <a:pt x="955" y="146"/>
                    </a:cubicBezTo>
                    <a:cubicBezTo>
                      <a:pt x="975" y="139"/>
                      <a:pt x="997" y="131"/>
                      <a:pt x="1019" y="123"/>
                    </a:cubicBezTo>
                    <a:cubicBezTo>
                      <a:pt x="1296" y="24"/>
                      <a:pt x="1781" y="4"/>
                      <a:pt x="2124" y="77"/>
                    </a:cubicBezTo>
                    <a:lnTo>
                      <a:pt x="2124" y="7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4" name="Freeform 23"/>
              <p:cNvSpPr>
                <a:spLocks/>
              </p:cNvSpPr>
              <p:nvPr/>
            </p:nvSpPr>
            <p:spPr bwMode="auto">
              <a:xfrm>
                <a:off x="935037" y="3124200"/>
                <a:ext cx="7840663" cy="1387475"/>
              </a:xfrm>
              <a:custGeom>
                <a:avLst/>
                <a:gdLst>
                  <a:gd name="T0" fmla="*/ 2091 w 2091"/>
                  <a:gd name="T1" fmla="*/ 87 h 370"/>
                  <a:gd name="T2" fmla="*/ 1528 w 2091"/>
                  <a:gd name="T3" fmla="*/ 23 h 370"/>
                  <a:gd name="T4" fmla="*/ 991 w 2091"/>
                  <a:gd name="T5" fmla="*/ 104 h 370"/>
                  <a:gd name="T6" fmla="*/ 939 w 2091"/>
                  <a:gd name="T7" fmla="*/ 123 h 370"/>
                  <a:gd name="T8" fmla="*/ 0 w 2091"/>
                  <a:gd name="T9" fmla="*/ 370 h 370"/>
                  <a:gd name="T10" fmla="*/ 27 w 2091"/>
                  <a:gd name="T11" fmla="*/ 370 h 370"/>
                  <a:gd name="T12" fmla="*/ 940 w 2091"/>
                  <a:gd name="T13" fmla="*/ 127 h 370"/>
                  <a:gd name="T14" fmla="*/ 993 w 2091"/>
                  <a:gd name="T15" fmla="*/ 108 h 370"/>
                  <a:gd name="T16" fmla="*/ 2091 w 2091"/>
                  <a:gd name="T17" fmla="*/ 91 h 370"/>
                  <a:gd name="T18" fmla="*/ 2091 w 2091"/>
                  <a:gd name="T19" fmla="*/ 8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1" h="370">
                    <a:moveTo>
                      <a:pt x="2091" y="87"/>
                    </a:moveTo>
                    <a:cubicBezTo>
                      <a:pt x="1930" y="43"/>
                      <a:pt x="1730" y="20"/>
                      <a:pt x="1528" y="23"/>
                    </a:cubicBezTo>
                    <a:cubicBezTo>
                      <a:pt x="1322" y="25"/>
                      <a:pt x="1131" y="54"/>
                      <a:pt x="991" y="104"/>
                    </a:cubicBezTo>
                    <a:cubicBezTo>
                      <a:pt x="939" y="123"/>
                      <a:pt x="939" y="123"/>
                      <a:pt x="939" y="123"/>
                    </a:cubicBezTo>
                    <a:cubicBezTo>
                      <a:pt x="618" y="237"/>
                      <a:pt x="424" y="306"/>
                      <a:pt x="0" y="370"/>
                    </a:cubicBezTo>
                    <a:cubicBezTo>
                      <a:pt x="27" y="370"/>
                      <a:pt x="27" y="370"/>
                      <a:pt x="27" y="370"/>
                    </a:cubicBezTo>
                    <a:cubicBezTo>
                      <a:pt x="433" y="307"/>
                      <a:pt x="626" y="239"/>
                      <a:pt x="940" y="127"/>
                    </a:cubicBezTo>
                    <a:cubicBezTo>
                      <a:pt x="993" y="108"/>
                      <a:pt x="993" y="108"/>
                      <a:pt x="993" y="108"/>
                    </a:cubicBezTo>
                    <a:cubicBezTo>
                      <a:pt x="1276" y="7"/>
                      <a:pt x="1757" y="0"/>
                      <a:pt x="2091" y="91"/>
                    </a:cubicBezTo>
                    <a:lnTo>
                      <a:pt x="2091" y="8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grpSp>
      </p:grpSp>
      <p:sp>
        <p:nvSpPr>
          <p:cNvPr id="2" name="Title 1"/>
          <p:cNvSpPr>
            <a:spLocks noGrp="1"/>
          </p:cNvSpPr>
          <p:nvPr>
            <p:ph type="ctrTitle" hasCustomPrompt="1"/>
          </p:nvPr>
        </p:nvSpPr>
        <p:spPr>
          <a:xfrm>
            <a:off x="723900" y="531689"/>
            <a:ext cx="6546268" cy="1354262"/>
          </a:xfrm>
          <a:prstGeom prst="rect">
            <a:avLst/>
          </a:prstGeom>
        </p:spPr>
        <p:txBody>
          <a:bodyPr lIns="0" tIns="22677" rIns="0" bIns="22677" anchor="b">
            <a:normAutofit/>
          </a:bodyPr>
          <a:lstStyle>
            <a:lvl1pPr algn="l">
              <a:defRPr sz="2000">
                <a:solidFill>
                  <a:srgbClr val="4D4D4D"/>
                </a:solidFill>
                <a:latin typeface="+mj-lt"/>
                <a:cs typeface="Calibri" panose="020B0604020202020204" pitchFamily="34" charset="0"/>
              </a:defRPr>
            </a:lvl1pPr>
          </a:lstStyle>
          <a:p>
            <a:r>
              <a:rPr lang="en-US" noProof="0"/>
              <a:t>Click to edit Master title style</a:t>
            </a:r>
          </a:p>
        </p:txBody>
      </p:sp>
      <p:sp>
        <p:nvSpPr>
          <p:cNvPr id="3" name="Subtitle 2"/>
          <p:cNvSpPr>
            <a:spLocks noGrp="1"/>
          </p:cNvSpPr>
          <p:nvPr>
            <p:ph type="subTitle" idx="1" hasCustomPrompt="1"/>
          </p:nvPr>
        </p:nvSpPr>
        <p:spPr>
          <a:xfrm>
            <a:off x="723900" y="1947916"/>
            <a:ext cx="6544800" cy="1162229"/>
          </a:xfrm>
          <a:prstGeom prst="rect">
            <a:avLst/>
          </a:prstGeom>
        </p:spPr>
        <p:txBody>
          <a:bodyPr lIns="0" tIns="22677" rIns="0" bIns="22677">
            <a:normAutofit/>
          </a:bodyPr>
          <a:lstStyle>
            <a:lvl1pPr marL="0" indent="0" algn="l">
              <a:spcBef>
                <a:spcPts val="400"/>
              </a:spcBef>
              <a:buNone/>
              <a:defRPr sz="2800">
                <a:solidFill>
                  <a:srgbClr val="4D4D4D"/>
                </a:solidFill>
                <a:latin typeface="+mj-lt"/>
                <a:cs typeface="Calibri" panose="020B0604020202020204" pitchFamily="34" charset="0"/>
              </a:defRPr>
            </a:lvl1pPr>
            <a:lvl2pPr marL="408188" indent="0" algn="ctr">
              <a:buNone/>
              <a:defRPr>
                <a:solidFill>
                  <a:schemeClr val="tx1">
                    <a:tint val="75000"/>
                  </a:schemeClr>
                </a:solidFill>
              </a:defRPr>
            </a:lvl2pPr>
            <a:lvl3pPr marL="816376" indent="0" algn="ctr">
              <a:buNone/>
              <a:defRPr>
                <a:solidFill>
                  <a:schemeClr val="tx1">
                    <a:tint val="75000"/>
                  </a:schemeClr>
                </a:solidFill>
              </a:defRPr>
            </a:lvl3pPr>
            <a:lvl4pPr marL="1224564" indent="0" algn="ctr">
              <a:buNone/>
              <a:defRPr>
                <a:solidFill>
                  <a:schemeClr val="tx1">
                    <a:tint val="75000"/>
                  </a:schemeClr>
                </a:solidFill>
              </a:defRPr>
            </a:lvl4pPr>
            <a:lvl5pPr marL="1632753" indent="0" algn="ctr">
              <a:buNone/>
              <a:defRPr>
                <a:solidFill>
                  <a:schemeClr val="tx1">
                    <a:tint val="75000"/>
                  </a:schemeClr>
                </a:solidFill>
              </a:defRPr>
            </a:lvl5pPr>
            <a:lvl6pPr marL="2040941" indent="0" algn="ctr">
              <a:buNone/>
              <a:defRPr>
                <a:solidFill>
                  <a:schemeClr val="tx1">
                    <a:tint val="75000"/>
                  </a:schemeClr>
                </a:solidFill>
              </a:defRPr>
            </a:lvl6pPr>
            <a:lvl7pPr marL="2449129" indent="0" algn="ctr">
              <a:buNone/>
              <a:defRPr>
                <a:solidFill>
                  <a:schemeClr val="tx1">
                    <a:tint val="75000"/>
                  </a:schemeClr>
                </a:solidFill>
              </a:defRPr>
            </a:lvl7pPr>
            <a:lvl8pPr marL="2857317" indent="0" algn="ctr">
              <a:buNone/>
              <a:defRPr>
                <a:solidFill>
                  <a:schemeClr val="tx1">
                    <a:tint val="75000"/>
                  </a:schemeClr>
                </a:solidFill>
              </a:defRPr>
            </a:lvl8pPr>
            <a:lvl9pPr marL="3265505" indent="0" algn="ctr">
              <a:buNone/>
              <a:defRPr>
                <a:solidFill>
                  <a:schemeClr val="tx1">
                    <a:tint val="75000"/>
                  </a:schemeClr>
                </a:solidFill>
              </a:defRPr>
            </a:lvl9pPr>
          </a:lstStyle>
          <a:p>
            <a:r>
              <a:rPr lang="en-US" noProof="0"/>
              <a:t>Click to edit Master subtitle style</a:t>
            </a:r>
          </a:p>
        </p:txBody>
      </p:sp>
      <p:cxnSp>
        <p:nvCxnSpPr>
          <p:cNvPr id="279" name="Straight Connector 7"/>
          <p:cNvCxnSpPr/>
          <p:nvPr/>
        </p:nvCxnSpPr>
        <p:spPr>
          <a:xfrm>
            <a:off x="723900" y="1882544"/>
            <a:ext cx="653796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31" name="Foliennummernplatzhalter 30"/>
          <p:cNvSpPr>
            <a:spLocks noGrp="1"/>
          </p:cNvSpPr>
          <p:nvPr>
            <p:ph type="sldNum" sz="quarter" idx="11"/>
          </p:nvPr>
        </p:nvSpPr>
        <p:spPr/>
        <p:txBody>
          <a:bodyPr/>
          <a:lstStyle/>
          <a:p>
            <a:fld id="{90223409-09FC-4660-A923-5454ABA2BCF5}" type="slidenum">
              <a:rPr lang="en-US" noProof="0" smtClean="0"/>
              <a:pPr/>
              <a:t>‹#›</a:t>
            </a:fld>
            <a:endParaRPr lang="en-US" noProof="0"/>
          </a:p>
        </p:txBody>
      </p:sp>
      <p:sp>
        <p:nvSpPr>
          <p:cNvPr id="35" name="Fußzeilenplatzhalter 3"/>
          <p:cNvSpPr>
            <a:spLocks noGrp="1"/>
          </p:cNvSpPr>
          <p:nvPr>
            <p:ph type="ftr" sz="quarter" idx="10"/>
          </p:nvPr>
        </p:nvSpPr>
        <p:spPr>
          <a:xfrm>
            <a:off x="723900" y="3764451"/>
            <a:ext cx="3448957" cy="273844"/>
          </a:xfrm>
          <a:prstGeom prst="rect">
            <a:avLst/>
          </a:prstGeom>
        </p:spPr>
        <p:txBody>
          <a:bodyPr/>
          <a:lstStyle>
            <a:lvl1pPr>
              <a:defRPr sz="1200"/>
            </a:lvl1pPr>
          </a:lstStyle>
          <a:p>
            <a:pPr algn="l"/>
            <a:r>
              <a:rPr lang="en-US" noProof="0"/>
              <a:t>internal / external/ confidential </a:t>
            </a:r>
          </a:p>
        </p:txBody>
      </p:sp>
      <p:pic>
        <p:nvPicPr>
          <p:cNvPr id="36" name="Picture 16" descr="C:\Users\DALLA2\AppData\Local\Temp\PKE5E3.tmp\Celanese new logo_color 40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26611" y="283168"/>
            <a:ext cx="1530489" cy="45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09132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s with call 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Titelmasterformat durch Klicken bearbeiten</a:t>
            </a:r>
          </a:p>
        </p:txBody>
      </p:sp>
      <p:sp>
        <p:nvSpPr>
          <p:cNvPr id="8" name="Inhaltsplatzhalter 7"/>
          <p:cNvSpPr>
            <a:spLocks noGrp="1"/>
          </p:cNvSpPr>
          <p:nvPr>
            <p:ph sz="quarter" idx="13" hasCustomPrompt="1"/>
          </p:nvPr>
        </p:nvSpPr>
        <p:spPr>
          <a:xfrm>
            <a:off x="381000" y="895351"/>
            <a:ext cx="4104000" cy="3369884"/>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9" name="Inhaltsplatzhalter 8"/>
          <p:cNvSpPr>
            <a:spLocks noGrp="1"/>
          </p:cNvSpPr>
          <p:nvPr>
            <p:ph sz="quarter" idx="15" hasCustomPrompt="1"/>
          </p:nvPr>
        </p:nvSpPr>
        <p:spPr>
          <a:xfrm>
            <a:off x="4659000" y="892175"/>
            <a:ext cx="4104000" cy="3373438"/>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5" name="Fußzeilenplatzhalter 4">
            <a:extLst>
              <a:ext uri="{FF2B5EF4-FFF2-40B4-BE49-F238E27FC236}">
                <a16:creationId xmlns:a16="http://schemas.microsoft.com/office/drawing/2014/main" id="{BE2CFA7F-A3C8-4FC4-B265-92F612186260}"/>
              </a:ext>
            </a:extLst>
          </p:cNvPr>
          <p:cNvSpPr>
            <a:spLocks noGrp="1"/>
          </p:cNvSpPr>
          <p:nvPr>
            <p:ph type="ftr" sz="quarter" idx="16"/>
          </p:nvPr>
        </p:nvSpPr>
        <p:spPr>
          <a:xfrm>
            <a:off x="390526" y="4767264"/>
            <a:ext cx="2367189" cy="273844"/>
          </a:xfrm>
          <a:prstGeom prst="rect">
            <a:avLst/>
          </a:prstGeom>
        </p:spPr>
        <p:txBody>
          <a:bodyPr/>
          <a:lstStyle/>
          <a:p>
            <a:pPr algn="l"/>
            <a:r>
              <a:rPr lang="en-US" dirty="0"/>
              <a:t>internal / external/ confidential </a:t>
            </a:r>
          </a:p>
        </p:txBody>
      </p:sp>
      <p:sp>
        <p:nvSpPr>
          <p:cNvPr id="6" name="Foliennummernplatzhalter 5">
            <a:extLst>
              <a:ext uri="{FF2B5EF4-FFF2-40B4-BE49-F238E27FC236}">
                <a16:creationId xmlns:a16="http://schemas.microsoft.com/office/drawing/2014/main" id="{33C941D0-5C68-4A40-9743-4FC0C60EBECB}"/>
              </a:ext>
            </a:extLst>
          </p:cNvPr>
          <p:cNvSpPr>
            <a:spLocks noGrp="1"/>
          </p:cNvSpPr>
          <p:nvPr>
            <p:ph type="sldNum" sz="quarter" idx="17"/>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37802427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s with sub-hea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Titelmasterformat durch Klicken bearbeiten</a:t>
            </a:r>
          </a:p>
        </p:txBody>
      </p:sp>
      <p:sp>
        <p:nvSpPr>
          <p:cNvPr id="8" name="Inhaltsplatzhalter 7"/>
          <p:cNvSpPr>
            <a:spLocks noGrp="1"/>
          </p:cNvSpPr>
          <p:nvPr>
            <p:ph sz="quarter" idx="13" hasCustomPrompt="1"/>
          </p:nvPr>
        </p:nvSpPr>
        <p:spPr>
          <a:xfrm>
            <a:off x="381000" y="1362494"/>
            <a:ext cx="4104000" cy="3342855"/>
          </a:xfrm>
        </p:spPr>
        <p:txBody>
          <a:bodyPr>
            <a:normAutofit/>
          </a:bodyPr>
          <a:lstStyle>
            <a:lvl1pPr>
              <a:buSzPct val="80000"/>
              <a:defRPr sz="1600"/>
            </a:lvl1pPr>
            <a:lvl2pPr>
              <a:defRPr sz="1400"/>
            </a:lvl2pPr>
            <a:lvl3pPr>
              <a:defRPr sz="1400"/>
            </a:lvl3pPr>
            <a:lvl4pPr>
              <a:defRPr sz="1100"/>
            </a:lvl4pPr>
            <a:lvl5pPr>
              <a:defRPr sz="11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Inhaltsplatzhalter 6"/>
          <p:cNvSpPr>
            <a:spLocks noGrp="1"/>
          </p:cNvSpPr>
          <p:nvPr>
            <p:ph sz="quarter" idx="14" hasCustomPrompt="1"/>
          </p:nvPr>
        </p:nvSpPr>
        <p:spPr>
          <a:xfrm>
            <a:off x="4659000" y="1363663"/>
            <a:ext cx="4104000" cy="3344400"/>
          </a:xfrm>
        </p:spPr>
        <p:txBody>
          <a:bodyPr>
            <a:normAutofit/>
          </a:bodyPr>
          <a:lstStyle>
            <a:lvl1pPr>
              <a:buSzPct val="80000"/>
              <a:defRPr sz="1600"/>
            </a:lvl1pPr>
            <a:lvl2pPr>
              <a:defRPr sz="1400"/>
            </a:lvl2pPr>
            <a:lvl3pPr>
              <a:defRPr sz="1400"/>
            </a:lvl3pPr>
            <a:lvl4pPr>
              <a:defRPr sz="1100"/>
            </a:lvl4pPr>
            <a:lvl5pPr>
              <a:defRPr sz="11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9" name="Textplatzhalter 8"/>
          <p:cNvSpPr>
            <a:spLocks noGrp="1"/>
          </p:cNvSpPr>
          <p:nvPr>
            <p:ph type="body" sz="quarter" idx="15" hasCustomPrompt="1"/>
          </p:nvPr>
        </p:nvSpPr>
        <p:spPr>
          <a:xfrm>
            <a:off x="381000" y="892175"/>
            <a:ext cx="4104000" cy="438150"/>
          </a:xfrm>
        </p:spPr>
        <p:txBody>
          <a:bodyPr anchor="ctr">
            <a:normAutofit/>
          </a:bodyPr>
          <a:lstStyle>
            <a:lvl1pPr marL="0" indent="0">
              <a:buNone/>
              <a:defRPr sz="1600" b="0">
                <a:solidFill>
                  <a:schemeClr val="tx2"/>
                </a:solidFill>
                <a:latin typeface="Calibri" panose="020B0604030504040204" pitchFamily="34" charset="0"/>
                <a:ea typeface="Calibri" panose="020B0604030504040204" pitchFamily="34" charset="0"/>
                <a:cs typeface="Calibri" panose="020B0604030504040204" pitchFamily="34" charset="0"/>
              </a:defRPr>
            </a:lvl1pPr>
          </a:lstStyle>
          <a:p>
            <a:pPr lvl="0"/>
            <a:r>
              <a:rPr lang="en-US" noProof="0" dirty="0" err="1"/>
              <a:t>Textmasterformat</a:t>
            </a:r>
            <a:r>
              <a:rPr lang="en-US" noProof="0" dirty="0"/>
              <a:t> </a:t>
            </a:r>
            <a:r>
              <a:rPr lang="en-US" noProof="0" dirty="0" err="1"/>
              <a:t>bearbeiten</a:t>
            </a:r>
            <a:endParaRPr lang="en-US" noProof="0" dirty="0"/>
          </a:p>
        </p:txBody>
      </p:sp>
      <p:sp>
        <p:nvSpPr>
          <p:cNvPr id="11" name="Textplatzhalter 10"/>
          <p:cNvSpPr>
            <a:spLocks noGrp="1"/>
          </p:cNvSpPr>
          <p:nvPr>
            <p:ph type="body" sz="quarter" idx="16" hasCustomPrompt="1"/>
          </p:nvPr>
        </p:nvSpPr>
        <p:spPr>
          <a:xfrm>
            <a:off x="4659000" y="892175"/>
            <a:ext cx="4104000" cy="438150"/>
          </a:xfrm>
        </p:spPr>
        <p:txBody>
          <a:bodyPr anchor="ctr">
            <a:normAutofit/>
          </a:bodyPr>
          <a:lstStyle>
            <a:lvl1pPr marL="0" indent="0">
              <a:buNone/>
              <a:defRPr sz="1600" b="0">
                <a:solidFill>
                  <a:schemeClr val="tx2"/>
                </a:solidFill>
                <a:latin typeface="Calibri" panose="020B0604030504040204" pitchFamily="34" charset="0"/>
                <a:ea typeface="Calibri" panose="020B0604030504040204" pitchFamily="34" charset="0"/>
                <a:cs typeface="Calibri" panose="020B0604030504040204" pitchFamily="34" charset="0"/>
              </a:defRPr>
            </a:lvl1pPr>
          </a:lstStyle>
          <a:p>
            <a:pPr lvl="0"/>
            <a:r>
              <a:rPr lang="en-US" noProof="0" dirty="0" err="1"/>
              <a:t>Textmasterformat</a:t>
            </a:r>
            <a:r>
              <a:rPr lang="en-US" noProof="0" dirty="0"/>
              <a:t> </a:t>
            </a:r>
            <a:r>
              <a:rPr lang="en-US" noProof="0" dirty="0" err="1"/>
              <a:t>bearbeiten</a:t>
            </a:r>
            <a:endParaRPr lang="en-US" noProof="0" dirty="0"/>
          </a:p>
        </p:txBody>
      </p:sp>
      <p:sp>
        <p:nvSpPr>
          <p:cNvPr id="5" name="Fußzeilenplatzhalter 4"/>
          <p:cNvSpPr>
            <a:spLocks noGrp="1"/>
          </p:cNvSpPr>
          <p:nvPr>
            <p:ph type="ftr" sz="quarter" idx="17"/>
          </p:nvPr>
        </p:nvSpPr>
        <p:spPr>
          <a:xfrm>
            <a:off x="390526" y="4767264"/>
            <a:ext cx="2367189" cy="273844"/>
          </a:xfrm>
          <a:prstGeom prst="rect">
            <a:avLst/>
          </a:prstGeom>
        </p:spPr>
        <p:txBody>
          <a:bodyPr/>
          <a:lstStyle/>
          <a:p>
            <a:pPr algn="l"/>
            <a:r>
              <a:rPr lang="en-US" noProof="0"/>
              <a:t>internal / external/ confidential </a:t>
            </a:r>
          </a:p>
        </p:txBody>
      </p:sp>
      <p:sp>
        <p:nvSpPr>
          <p:cNvPr id="14" name="Foliennummernplatzhalter 13"/>
          <p:cNvSpPr>
            <a:spLocks noGrp="1"/>
          </p:cNvSpPr>
          <p:nvPr>
            <p:ph type="sldNum" sz="quarter" idx="18"/>
          </p:nvPr>
        </p:nvSpPr>
        <p:spPr/>
        <p:txBody>
          <a:bodyPr/>
          <a:lstStyle/>
          <a:p>
            <a:fld id="{90223409-09FC-4660-A923-5454ABA2BCF5}" type="slidenum">
              <a:rPr lang="en-US" noProof="0" smtClean="0"/>
              <a:pPr/>
              <a:t>‹#›</a:t>
            </a:fld>
            <a:endParaRPr lang="en-US" noProof="0"/>
          </a:p>
        </p:txBody>
      </p:sp>
      <p:cxnSp>
        <p:nvCxnSpPr>
          <p:cNvPr id="12" name="Straight Connector 6">
            <a:extLst>
              <a:ext uri="{FF2B5EF4-FFF2-40B4-BE49-F238E27FC236}">
                <a16:creationId xmlns:a16="http://schemas.microsoft.com/office/drawing/2014/main" id="{B4378283-213C-4425-8843-CBB1E1FDAFB7}"/>
              </a:ext>
            </a:extLst>
          </p:cNvPr>
          <p:cNvCxnSpPr/>
          <p:nvPr userDrawn="1"/>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7617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line and call-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Titelmasterformat durch Klicken bearbeiten</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3" name="Fußzeilenplatzhalter 2"/>
          <p:cNvSpPr>
            <a:spLocks noGrp="1"/>
          </p:cNvSpPr>
          <p:nvPr>
            <p:ph type="ftr" sz="quarter" idx="15"/>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6"/>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33423187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Titelmasterformat durch Klicken bearbeiten</a:t>
            </a:r>
          </a:p>
        </p:txBody>
      </p:sp>
      <p:sp>
        <p:nvSpPr>
          <p:cNvPr id="3" name="Fußzeilenplatzhalter 2"/>
          <p:cNvSpPr>
            <a:spLocks noGrp="1"/>
          </p:cNvSpPr>
          <p:nvPr>
            <p:ph type="ftr" sz="quarter" idx="10"/>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1"/>
          </p:nvPr>
        </p:nvSpPr>
        <p:spPr/>
        <p:txBody>
          <a:bodyPr/>
          <a:lstStyle/>
          <a:p>
            <a:fld id="{90223409-09FC-4660-A923-5454ABA2BCF5}" type="slidenum">
              <a:rPr lang="en-US" noProof="0" smtClean="0"/>
              <a:pPr/>
              <a:t>‹#›</a:t>
            </a:fld>
            <a:endParaRPr lang="en-US" noProof="0"/>
          </a:p>
        </p:txBody>
      </p:sp>
      <p:cxnSp>
        <p:nvCxnSpPr>
          <p:cNvPr id="7" name="Straight Connector 6">
            <a:extLst>
              <a:ext uri="{FF2B5EF4-FFF2-40B4-BE49-F238E27FC236}">
                <a16:creationId xmlns:a16="http://schemas.microsoft.com/office/drawing/2014/main" id="{DB7A436A-5EF3-428C-9F60-79D91CAA053C}"/>
              </a:ext>
            </a:extLst>
          </p:cNvPr>
          <p:cNvCxnSpPr/>
          <p:nvPr userDrawn="1"/>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71918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Heavy Page Layout withou gray box">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8145" name="think-cell Folie" r:id="rId3" imgW="270" imgH="270" progId="TCLayout.ActiveDocument.1">
                  <p:embed/>
                </p:oleObj>
              </mc:Choice>
              <mc:Fallback>
                <p:oleObj name="think-cell Folie" r:id="rId3" imgW="270" imgH="270" progId="TCLayout.ActiveDocument.1">
                  <p:embed/>
                  <p:pic>
                    <p:nvPicPr>
                      <p:cNvPr id="16" name="Objekt 15" hidden="1"/>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a:xfrm>
            <a:off x="739777" y="1097416"/>
            <a:ext cx="5154612" cy="1568054"/>
          </a:xfrm>
        </p:spPr>
        <p:txBody>
          <a:bodyPr>
            <a:normAutofit/>
          </a:bodyPr>
          <a:lstStyle>
            <a:lvl1pPr marL="0" indent="0">
              <a:buNone/>
              <a:defRPr sz="1400"/>
            </a:lvl1pPr>
            <a:lvl2pPr marL="217488" indent="-217488">
              <a:buClr>
                <a:schemeClr val="accent1"/>
              </a:buClr>
              <a:buSzPct val="90000"/>
              <a:buFont typeface="Arial" pitchFamily="34" charset="0"/>
              <a:buChar char="►"/>
              <a:defRPr sz="1400"/>
            </a:lvl2pPr>
            <a:lvl3pPr marL="488950" indent="-228600">
              <a:buClr>
                <a:schemeClr val="tx2"/>
              </a:buClr>
              <a:buSzPct val="100000"/>
              <a:buFont typeface="Arial" pitchFamily="34" charset="0"/>
              <a:buChar char="‒"/>
              <a:defRPr sz="1400"/>
            </a:lvl3pPr>
            <a:lvl4pPr marL="762000" indent="-238125">
              <a:buClr>
                <a:schemeClr val="tx1"/>
              </a:buClr>
              <a:buSzPct val="100000"/>
              <a:buFont typeface="Arial" pitchFamily="34" charset="0"/>
              <a:buChar char="‒"/>
              <a:defRPr sz="1400"/>
            </a:lvl4pPr>
            <a:lvl5pPr marL="1041400" indent="-228600">
              <a:buClr>
                <a:schemeClr val="tx1"/>
              </a:buClr>
              <a:buFont typeface="Arial" pitchFamily="34" charset="0"/>
              <a:buChar cha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5"/>
          <p:cNvSpPr>
            <a:spLocks noGrp="1"/>
          </p:cNvSpPr>
          <p:nvPr>
            <p:ph type="sldNum" sz="quarter" idx="12"/>
          </p:nvPr>
        </p:nvSpPr>
        <p:spPr/>
        <p:txBody>
          <a:bodyPr/>
          <a:lstStyle/>
          <a:p>
            <a:fld id="{CBC18623-D5EF-43D5-AE73-F0DD34C132F1}" type="slidenum">
              <a:rPr lang="de-DE" smtClean="0"/>
              <a:t>‹#›</a:t>
            </a:fld>
            <a:endParaRPr lang="de-DE" dirty="0"/>
          </a:p>
        </p:txBody>
      </p:sp>
      <p:sp>
        <p:nvSpPr>
          <p:cNvPr id="8" name="Textplatzhalter 7"/>
          <p:cNvSpPr>
            <a:spLocks noGrp="1"/>
          </p:cNvSpPr>
          <p:nvPr>
            <p:ph type="body" sz="quarter" idx="13"/>
          </p:nvPr>
        </p:nvSpPr>
        <p:spPr>
          <a:xfrm>
            <a:off x="6088745" y="740229"/>
            <a:ext cx="2706913" cy="4136572"/>
          </a:xfrm>
          <a:prstGeom prst="round1Rect">
            <a:avLst>
              <a:gd name="adj" fmla="val 0"/>
            </a:avLst>
          </a:prstGeom>
        </p:spPr>
        <p:txBody>
          <a:bodyPr>
            <a:normAutofit/>
          </a:bodyPr>
          <a:lstStyle>
            <a:lvl1pPr marL="0" indent="0">
              <a:spcBef>
                <a:spcPts val="600"/>
              </a:spcBef>
              <a:buNone/>
              <a:defRPr sz="1600" b="1">
                <a:solidFill>
                  <a:schemeClr val="accent1"/>
                </a:solidFill>
              </a:defRPr>
            </a:lvl1pPr>
            <a:lvl2pPr marL="0" indent="0">
              <a:buNone/>
              <a:defRPr sz="1400"/>
            </a:lvl2pPr>
            <a:lvl3pPr marL="228600" indent="-228600">
              <a:buClr>
                <a:schemeClr val="accent1"/>
              </a:buClr>
              <a:buSzPct val="90000"/>
              <a:buFont typeface="Arial" pitchFamily="34" charset="0"/>
              <a:buChar char="►"/>
              <a:defRPr sz="1400"/>
            </a:lvl3pPr>
            <a:lvl4pPr marL="522288" indent="-238125">
              <a:buClr>
                <a:schemeClr val="tx2"/>
              </a:buClr>
              <a:buFont typeface="Arial" pitchFamily="34" charset="0"/>
              <a:buChar char="‒"/>
              <a:defRPr sz="1400"/>
            </a:lvl4pPr>
            <a:lvl5pPr marL="773113" indent="-228600">
              <a:buClr>
                <a:schemeClr val="tx1"/>
              </a:buClr>
              <a:buSzPct val="100000"/>
              <a:buFont typeface="Arial" pitchFamily="34" charset="0"/>
              <a:buChar cha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11"/>
          <p:cNvSpPr>
            <a:spLocks noGrp="1"/>
          </p:cNvSpPr>
          <p:nvPr>
            <p:ph type="body" sz="quarter" idx="14"/>
          </p:nvPr>
        </p:nvSpPr>
        <p:spPr>
          <a:xfrm>
            <a:off x="739775" y="767954"/>
            <a:ext cx="5154613" cy="320618"/>
          </a:xfrm>
        </p:spPr>
        <p:txBody>
          <a:bodyPr anchor="ctr">
            <a:normAutofit/>
          </a:bodyPr>
          <a:lstStyle>
            <a:lvl1pPr marL="0" indent="0">
              <a:buNone/>
              <a:defRPr sz="1600" b="1">
                <a:solidFill>
                  <a:schemeClr val="tx2"/>
                </a:solidFill>
              </a:defRPr>
            </a:lvl1pPr>
          </a:lstStyle>
          <a:p>
            <a:pPr lvl="0"/>
            <a:r>
              <a:rPr lang="de-DE"/>
              <a:t>Textmasterformat bearbeiten</a:t>
            </a:r>
          </a:p>
        </p:txBody>
      </p:sp>
      <p:sp>
        <p:nvSpPr>
          <p:cNvPr id="14" name="Textplatzhalter 13"/>
          <p:cNvSpPr>
            <a:spLocks noGrp="1"/>
          </p:cNvSpPr>
          <p:nvPr>
            <p:ph type="body" sz="quarter" idx="15"/>
          </p:nvPr>
        </p:nvSpPr>
        <p:spPr>
          <a:xfrm>
            <a:off x="739775" y="2823313"/>
            <a:ext cx="5154613" cy="252413"/>
          </a:xfrm>
        </p:spPr>
        <p:txBody>
          <a:bodyPr>
            <a:normAutofit/>
          </a:bodyPr>
          <a:lstStyle>
            <a:lvl1pPr marL="0" indent="0">
              <a:buNone/>
              <a:defRPr sz="1600" b="1">
                <a:solidFill>
                  <a:schemeClr val="tx2"/>
                </a:solidFill>
              </a:defRPr>
            </a:lvl1pPr>
          </a:lstStyle>
          <a:p>
            <a:pPr lvl="0"/>
            <a:r>
              <a:rPr lang="de-DE"/>
              <a:t>Textmasterformat bearbeiten</a:t>
            </a:r>
          </a:p>
        </p:txBody>
      </p:sp>
      <p:sp>
        <p:nvSpPr>
          <p:cNvPr id="15" name="Inhaltsplatzhalter 2"/>
          <p:cNvSpPr>
            <a:spLocks noGrp="1"/>
          </p:cNvSpPr>
          <p:nvPr>
            <p:ph idx="16"/>
          </p:nvPr>
        </p:nvSpPr>
        <p:spPr>
          <a:xfrm>
            <a:off x="739777" y="3071812"/>
            <a:ext cx="5154612" cy="1568054"/>
          </a:xfrm>
        </p:spPr>
        <p:txBody>
          <a:bodyPr>
            <a:normAutofit/>
          </a:bodyPr>
          <a:lstStyle>
            <a:lvl1pPr marL="0" indent="0">
              <a:buNone/>
              <a:defRPr sz="1400"/>
            </a:lvl1pPr>
            <a:lvl2pPr marL="217488" indent="-217488">
              <a:buClr>
                <a:schemeClr val="accent1"/>
              </a:buClr>
              <a:buSzPct val="90000"/>
              <a:buFont typeface="Arial" pitchFamily="34" charset="0"/>
              <a:buChar char="►"/>
              <a:defRPr sz="1400"/>
            </a:lvl2pPr>
            <a:lvl3pPr marL="488950" indent="-228600">
              <a:buClr>
                <a:schemeClr val="tx2"/>
              </a:buClr>
              <a:buSzPct val="100000"/>
              <a:buFont typeface="Arial" pitchFamily="34" charset="0"/>
              <a:buChar char="‒"/>
              <a:defRPr sz="1400"/>
            </a:lvl3pPr>
            <a:lvl4pPr marL="762000" indent="-238125">
              <a:buClr>
                <a:schemeClr val="tx1"/>
              </a:buClr>
              <a:buSzPct val="100000"/>
              <a:buFont typeface="Arial" pitchFamily="34" charset="0"/>
              <a:buChar char="‒"/>
              <a:defRPr sz="1400"/>
            </a:lvl4pPr>
            <a:lvl5pPr marL="1041400" indent="-228600">
              <a:buClr>
                <a:schemeClr val="tx1"/>
              </a:buClr>
              <a:buFont typeface="Arial" pitchFamily="34" charset="0"/>
              <a:buChar char="‒"/>
              <a:defRPr sz="14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Diagrammplatzhalter 16"/>
          <p:cNvSpPr>
            <a:spLocks noGrp="1"/>
          </p:cNvSpPr>
          <p:nvPr>
            <p:ph type="chart" sz="quarter" idx="17"/>
          </p:nvPr>
        </p:nvSpPr>
        <p:spPr>
          <a:xfrm>
            <a:off x="3787775" y="1097416"/>
            <a:ext cx="2106613" cy="1579960"/>
          </a:xfrm>
        </p:spPr>
        <p:txBody>
          <a:bodyPr>
            <a:normAutofit/>
          </a:bodyPr>
          <a:lstStyle>
            <a:lvl1pPr>
              <a:defRPr sz="1400"/>
            </a:lvl1pPr>
          </a:lstStyle>
          <a:p>
            <a:r>
              <a:rPr lang="de-DE"/>
              <a:t>Diagramm durch Klicken auf Symbol hinzufügen</a:t>
            </a:r>
            <a:endParaRPr lang="de-DE" dirty="0"/>
          </a:p>
        </p:txBody>
      </p:sp>
      <p:sp>
        <p:nvSpPr>
          <p:cNvPr id="18" name="Diagrammplatzhalter 16"/>
          <p:cNvSpPr>
            <a:spLocks noGrp="1"/>
          </p:cNvSpPr>
          <p:nvPr>
            <p:ph type="chart" sz="quarter" idx="18"/>
          </p:nvPr>
        </p:nvSpPr>
        <p:spPr>
          <a:xfrm>
            <a:off x="3787775" y="3057804"/>
            <a:ext cx="2106613" cy="1579960"/>
          </a:xfrm>
        </p:spPr>
        <p:txBody>
          <a:bodyPr>
            <a:normAutofit/>
          </a:bodyPr>
          <a:lstStyle>
            <a:lvl1pPr>
              <a:defRPr sz="1400"/>
            </a:lvl1pPr>
          </a:lstStyle>
          <a:p>
            <a:r>
              <a:rPr lang="de-DE"/>
              <a:t>Diagramm durch Klicken auf Symbol hinzufügen</a:t>
            </a:r>
            <a:endParaRPr lang="de-DE" dirty="0"/>
          </a:p>
        </p:txBody>
      </p:sp>
    </p:spTree>
    <p:extLst>
      <p:ext uri="{BB962C8B-B14F-4D97-AF65-F5344CB8AC3E}">
        <p14:creationId xmlns:p14="http://schemas.microsoft.com/office/powerpoint/2010/main" val="3762095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imple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8" name="Inhaltsplatzhalter 7"/>
          <p:cNvSpPr>
            <a:spLocks noGrp="1"/>
          </p:cNvSpPr>
          <p:nvPr>
            <p:ph sz="quarter" idx="13" hasCustomPrompt="1"/>
          </p:nvPr>
        </p:nvSpPr>
        <p:spPr>
          <a:xfrm>
            <a:off x="381000" y="895350"/>
            <a:ext cx="8382000" cy="3810000"/>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cxnSp>
        <p:nvCxnSpPr>
          <p:cNvPr id="7" name="Straight Connector 6"/>
          <p:cNvCxnSpPr/>
          <p:nvPr/>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14"/>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5"/>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2935201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8" name="Inhaltsplatzhalter 7"/>
          <p:cNvSpPr>
            <a:spLocks noGrp="1"/>
          </p:cNvSpPr>
          <p:nvPr>
            <p:ph sz="quarter" idx="13" hasCustomPrompt="1"/>
          </p:nvPr>
        </p:nvSpPr>
        <p:spPr>
          <a:xfrm>
            <a:off x="380999" y="895350"/>
            <a:ext cx="4104000" cy="3810000"/>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Inhaltsplatzhalter 6"/>
          <p:cNvSpPr>
            <a:spLocks noGrp="1"/>
          </p:cNvSpPr>
          <p:nvPr>
            <p:ph sz="quarter" idx="14" hasCustomPrompt="1"/>
          </p:nvPr>
        </p:nvSpPr>
        <p:spPr>
          <a:xfrm>
            <a:off x="4659000" y="895351"/>
            <a:ext cx="4104000" cy="3809700"/>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3" name="Fußzeilenplatzhalter 2"/>
          <p:cNvSpPr>
            <a:spLocks noGrp="1"/>
          </p:cNvSpPr>
          <p:nvPr>
            <p:ph type="ftr" sz="quarter" idx="15"/>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6"/>
          </p:nvPr>
        </p:nvSpPr>
        <p:spPr/>
        <p:txBody>
          <a:bodyPr/>
          <a:lstStyle/>
          <a:p>
            <a:fld id="{90223409-09FC-4660-A923-5454ABA2BCF5}" type="slidenum">
              <a:rPr lang="en-US" noProof="0" smtClean="0"/>
              <a:pPr/>
              <a:t>‹#›</a:t>
            </a:fld>
            <a:endParaRPr lang="en-US" noProof="0"/>
          </a:p>
        </p:txBody>
      </p:sp>
      <p:cxnSp>
        <p:nvCxnSpPr>
          <p:cNvPr id="10" name="Straight Connector 6">
            <a:extLst>
              <a:ext uri="{FF2B5EF4-FFF2-40B4-BE49-F238E27FC236}">
                <a16:creationId xmlns:a16="http://schemas.microsoft.com/office/drawing/2014/main" id="{DB89DCF0-1DAD-40CC-89DA-96E5D9101774}"/>
              </a:ext>
            </a:extLst>
          </p:cNvPr>
          <p:cNvCxnSpPr/>
          <p:nvPr/>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4106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imple slide with sub headline">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381000" y="895351"/>
            <a:ext cx="8382000" cy="421141"/>
          </a:xfrm>
          <a:prstGeom prst="rect">
            <a:avLst/>
          </a:prstGeom>
        </p:spPr>
        <p:txBody>
          <a:bodyPr lIns="0" tIns="0" rIns="0" bIns="0" anchor="ctr">
            <a:normAutofit/>
          </a:bodyPr>
          <a:lstStyle>
            <a:lvl1pPr marL="0" indent="0">
              <a:spcBef>
                <a:spcPts val="0"/>
              </a:spcBef>
              <a:buNone/>
              <a:defRPr sz="1800" b="0">
                <a:solidFill>
                  <a:schemeClr val="tx2"/>
                </a:solidFill>
                <a:latin typeface="Calibri" panose="020B0604030504040204" pitchFamily="34" charset="0"/>
                <a:ea typeface="Calibri" panose="020B0604030504040204" pitchFamily="34" charset="0"/>
                <a:cs typeface="Calibri" panose="020B0604030504040204" pitchFamily="34" charset="0"/>
              </a:defRPr>
            </a:lvl1pPr>
            <a:lvl2pPr marL="408188" indent="0">
              <a:buNone/>
              <a:defRPr sz="1800" b="1"/>
            </a:lvl2pPr>
            <a:lvl3pPr marL="816376" indent="0">
              <a:buNone/>
              <a:defRPr sz="1600" b="1"/>
            </a:lvl3pPr>
            <a:lvl4pPr marL="1224564" indent="0">
              <a:buNone/>
              <a:defRPr sz="1400" b="1"/>
            </a:lvl4pPr>
            <a:lvl5pPr marL="1632753" indent="0">
              <a:buNone/>
              <a:defRPr sz="1400" b="1"/>
            </a:lvl5pPr>
            <a:lvl6pPr marL="2040941" indent="0">
              <a:buNone/>
              <a:defRPr sz="1400" b="1"/>
            </a:lvl6pPr>
            <a:lvl7pPr marL="2449129" indent="0">
              <a:buNone/>
              <a:defRPr sz="1400" b="1"/>
            </a:lvl7pPr>
            <a:lvl8pPr marL="2857317" indent="0">
              <a:buNone/>
              <a:defRPr sz="1400" b="1"/>
            </a:lvl8pPr>
            <a:lvl9pPr marL="3265505" indent="0">
              <a:buNone/>
              <a:defRPr sz="1400" b="1"/>
            </a:lvl9pPr>
          </a:lstStyle>
          <a:p>
            <a:pPr lvl="0"/>
            <a:r>
              <a:rPr lang="en-US" noProof="0"/>
              <a:t>Textmasterformat bearbeiten</a:t>
            </a:r>
          </a:p>
        </p:txBody>
      </p:sp>
      <p:sp>
        <p:nvSpPr>
          <p:cNvPr id="4" name="Titel 3"/>
          <p:cNvSpPr>
            <a:spLocks noGrp="1"/>
          </p:cNvSpPr>
          <p:nvPr>
            <p:ph type="title"/>
          </p:nvPr>
        </p:nvSpPr>
        <p:spPr/>
        <p:txBody>
          <a:bodyPr/>
          <a:lstStyle/>
          <a:p>
            <a:r>
              <a:rPr lang="de-DE" noProof="0"/>
              <a:t>Mastertitelformat bearbeiten</a:t>
            </a:r>
            <a:endParaRPr lang="en-US" noProof="0"/>
          </a:p>
        </p:txBody>
      </p:sp>
      <p:sp>
        <p:nvSpPr>
          <p:cNvPr id="6" name="Inhaltsplatzhalter 5"/>
          <p:cNvSpPr>
            <a:spLocks noGrp="1"/>
          </p:cNvSpPr>
          <p:nvPr>
            <p:ph sz="quarter" idx="13" hasCustomPrompt="1"/>
          </p:nvPr>
        </p:nvSpPr>
        <p:spPr>
          <a:xfrm>
            <a:off x="381000" y="1352550"/>
            <a:ext cx="8382000" cy="3352800"/>
          </a:xfrm>
        </p:spPr>
        <p:txBody>
          <a:bodyPr>
            <a:normAutofit/>
          </a:bodyPr>
          <a:lstStyle>
            <a:lvl1pPr>
              <a:buSzPct val="80000"/>
              <a:defRPr sz="1800"/>
            </a:lvl1pPr>
            <a:lvl2pPr>
              <a:defRPr sz="1600"/>
            </a:lvl2pPr>
            <a:lvl3pPr>
              <a:defRPr sz="1600"/>
            </a:lvl3pPr>
            <a:lvl4pPr>
              <a:defRPr sz="1200"/>
            </a:lvl4pPr>
            <a:lvl5pPr>
              <a:defRPr sz="1200"/>
            </a:lvl5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cxnSp>
        <p:nvCxnSpPr>
          <p:cNvPr id="12" name="Straight Connector 6"/>
          <p:cNvCxnSpPr/>
          <p:nvPr/>
        </p:nvCxnSpPr>
        <p:spPr>
          <a:xfrm>
            <a:off x="381000" y="774849"/>
            <a:ext cx="838200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7" name="Fußzeilenplatzhalter 6"/>
          <p:cNvSpPr>
            <a:spLocks noGrp="1"/>
          </p:cNvSpPr>
          <p:nvPr>
            <p:ph type="ftr" sz="quarter" idx="14"/>
          </p:nvPr>
        </p:nvSpPr>
        <p:spPr>
          <a:xfrm>
            <a:off x="390526" y="4767264"/>
            <a:ext cx="2367189" cy="273844"/>
          </a:xfrm>
          <a:prstGeom prst="rect">
            <a:avLst/>
          </a:prstGeom>
        </p:spPr>
        <p:txBody>
          <a:bodyPr/>
          <a:lstStyle/>
          <a:p>
            <a:pPr algn="l"/>
            <a:r>
              <a:rPr lang="en-US" noProof="0"/>
              <a:t>internal / external/ confidential </a:t>
            </a:r>
          </a:p>
        </p:txBody>
      </p:sp>
      <p:sp>
        <p:nvSpPr>
          <p:cNvPr id="8" name="Foliennummernplatzhalter 7"/>
          <p:cNvSpPr>
            <a:spLocks noGrp="1"/>
          </p:cNvSpPr>
          <p:nvPr>
            <p:ph type="sldNum" sz="quarter" idx="15"/>
          </p:nvPr>
        </p:nvSpPr>
        <p:spPr/>
        <p:txBody>
          <a:bodyPr/>
          <a:lstStyle/>
          <a:p>
            <a:fld id="{90223409-09FC-4660-A923-5454ABA2BCF5}" type="slidenum">
              <a:rPr lang="en-US" noProof="0" smtClean="0"/>
              <a:pPr/>
              <a:t>‹#›</a:t>
            </a:fld>
            <a:endParaRPr lang="en-US" noProof="0"/>
          </a:p>
        </p:txBody>
      </p:sp>
      <p:cxnSp>
        <p:nvCxnSpPr>
          <p:cNvPr id="9" name="Straight Connector 6">
            <a:extLst>
              <a:ext uri="{FF2B5EF4-FFF2-40B4-BE49-F238E27FC236}">
                <a16:creationId xmlns:a16="http://schemas.microsoft.com/office/drawing/2014/main" id="{DD3DCC82-017F-4612-8153-31DEEF320A71}"/>
              </a:ext>
            </a:extLst>
          </p:cNvPr>
          <p:cNvCxnSpPr/>
          <p:nvPr/>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33152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imple slide with call 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8" name="Inhaltsplatzhalter 7"/>
          <p:cNvSpPr>
            <a:spLocks noGrp="1"/>
          </p:cNvSpPr>
          <p:nvPr>
            <p:ph sz="quarter" idx="13" hasCustomPrompt="1"/>
          </p:nvPr>
        </p:nvSpPr>
        <p:spPr>
          <a:xfrm>
            <a:off x="381000" y="895351"/>
            <a:ext cx="8382000" cy="3369884"/>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6" name="Fußzeilenplatzhalter 5"/>
          <p:cNvSpPr>
            <a:spLocks noGrp="1"/>
          </p:cNvSpPr>
          <p:nvPr>
            <p:ph type="ftr" sz="quarter" idx="15"/>
          </p:nvPr>
        </p:nvSpPr>
        <p:spPr>
          <a:xfrm>
            <a:off x="390526" y="4767264"/>
            <a:ext cx="2367189" cy="273844"/>
          </a:xfrm>
          <a:prstGeom prst="rect">
            <a:avLst/>
          </a:prstGeom>
        </p:spPr>
        <p:txBody>
          <a:bodyPr/>
          <a:lstStyle/>
          <a:p>
            <a:pPr algn="l"/>
            <a:r>
              <a:rPr lang="en-US" noProof="0" dirty="0"/>
              <a:t>internal / external/ confidential </a:t>
            </a:r>
          </a:p>
        </p:txBody>
      </p:sp>
      <p:sp>
        <p:nvSpPr>
          <p:cNvPr id="9" name="Foliennummernplatzhalter 8"/>
          <p:cNvSpPr>
            <a:spLocks noGrp="1"/>
          </p:cNvSpPr>
          <p:nvPr>
            <p:ph type="sldNum" sz="quarter" idx="16"/>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1364811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ub-head with call 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8" name="Inhaltsplatzhalter 7"/>
          <p:cNvSpPr>
            <a:spLocks noGrp="1"/>
          </p:cNvSpPr>
          <p:nvPr>
            <p:ph sz="quarter" idx="13" hasCustomPrompt="1"/>
          </p:nvPr>
        </p:nvSpPr>
        <p:spPr>
          <a:xfrm>
            <a:off x="381000" y="1363663"/>
            <a:ext cx="8382000" cy="2901571"/>
          </a:xfrm>
        </p:spPr>
        <p:txBody>
          <a:bodyPr>
            <a:normAutofit/>
          </a:bodyPr>
          <a:lstStyle>
            <a:lvl1pPr>
              <a:buSzPct val="80000"/>
              <a:defRPr sz="1600"/>
            </a:lvl1pPr>
            <a:lvl2pPr>
              <a:defRPr sz="1400"/>
            </a:lvl2pPr>
            <a:lvl3pPr>
              <a:defRPr sz="1400"/>
            </a:lvl3pPr>
            <a:lvl4pPr>
              <a:defRPr sz="1100"/>
            </a:lvl4pPr>
            <a:lvl5pPr>
              <a:defRPr sz="11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1016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9" name="Textplatzhalter 8"/>
          <p:cNvSpPr>
            <a:spLocks noGrp="1"/>
          </p:cNvSpPr>
          <p:nvPr>
            <p:ph type="body" sz="quarter" idx="15" hasCustomPrompt="1"/>
          </p:nvPr>
        </p:nvSpPr>
        <p:spPr>
          <a:xfrm>
            <a:off x="381000" y="892175"/>
            <a:ext cx="8382000" cy="438150"/>
          </a:xfrm>
        </p:spPr>
        <p:txBody>
          <a:bodyPr anchor="ctr">
            <a:normAutofit/>
          </a:bodyPr>
          <a:lstStyle>
            <a:lvl1pPr marL="0" indent="0">
              <a:buNone/>
              <a:defRPr sz="1600" b="0">
                <a:solidFill>
                  <a:schemeClr val="tx2"/>
                </a:solidFill>
                <a:latin typeface="Calibri" panose="020B0604030504040204" pitchFamily="34" charset="0"/>
                <a:ea typeface="Calibri" panose="020B0604030504040204" pitchFamily="34" charset="0"/>
                <a:cs typeface="Calibri" panose="020B0604030504040204" pitchFamily="34" charset="0"/>
              </a:defRPr>
            </a:lvl1pPr>
          </a:lstStyle>
          <a:p>
            <a:pPr lvl="0"/>
            <a:r>
              <a:rPr lang="en-US" noProof="0"/>
              <a:t>Textmasterformat bearbeiten</a:t>
            </a:r>
          </a:p>
        </p:txBody>
      </p:sp>
      <p:sp>
        <p:nvSpPr>
          <p:cNvPr id="3" name="Fußzeilenplatzhalter 2"/>
          <p:cNvSpPr>
            <a:spLocks noGrp="1"/>
          </p:cNvSpPr>
          <p:nvPr>
            <p:ph type="ftr" sz="quarter" idx="16"/>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7"/>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21539262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s with call 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8" name="Inhaltsplatzhalter 7"/>
          <p:cNvSpPr>
            <a:spLocks noGrp="1"/>
          </p:cNvSpPr>
          <p:nvPr>
            <p:ph sz="quarter" idx="13" hasCustomPrompt="1"/>
          </p:nvPr>
        </p:nvSpPr>
        <p:spPr>
          <a:xfrm>
            <a:off x="381000" y="895351"/>
            <a:ext cx="4104000" cy="3369884"/>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9" name="Inhaltsplatzhalter 8"/>
          <p:cNvSpPr>
            <a:spLocks noGrp="1"/>
          </p:cNvSpPr>
          <p:nvPr>
            <p:ph sz="quarter" idx="15" hasCustomPrompt="1"/>
          </p:nvPr>
        </p:nvSpPr>
        <p:spPr>
          <a:xfrm>
            <a:off x="4659000" y="892175"/>
            <a:ext cx="4104000" cy="3373438"/>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5" name="Fußzeilenplatzhalter 4">
            <a:extLst>
              <a:ext uri="{FF2B5EF4-FFF2-40B4-BE49-F238E27FC236}">
                <a16:creationId xmlns:a16="http://schemas.microsoft.com/office/drawing/2014/main" id="{BE2CFA7F-A3C8-4FC4-B265-92F612186260}"/>
              </a:ext>
            </a:extLst>
          </p:cNvPr>
          <p:cNvSpPr>
            <a:spLocks noGrp="1"/>
          </p:cNvSpPr>
          <p:nvPr>
            <p:ph type="ftr" sz="quarter" idx="16"/>
          </p:nvPr>
        </p:nvSpPr>
        <p:spPr>
          <a:xfrm>
            <a:off x="390526" y="4767264"/>
            <a:ext cx="2367189" cy="273844"/>
          </a:xfrm>
          <a:prstGeom prst="rect">
            <a:avLst/>
          </a:prstGeom>
        </p:spPr>
        <p:txBody>
          <a:bodyPr/>
          <a:lstStyle/>
          <a:p>
            <a:pPr algn="l"/>
            <a:r>
              <a:rPr lang="en-US" dirty="0"/>
              <a:t>internal / external/ confidential </a:t>
            </a:r>
          </a:p>
        </p:txBody>
      </p:sp>
      <p:sp>
        <p:nvSpPr>
          <p:cNvPr id="6" name="Foliennummernplatzhalter 5">
            <a:extLst>
              <a:ext uri="{FF2B5EF4-FFF2-40B4-BE49-F238E27FC236}">
                <a16:creationId xmlns:a16="http://schemas.microsoft.com/office/drawing/2014/main" id="{33C941D0-5C68-4A40-9743-4FC0C60EBECB}"/>
              </a:ext>
            </a:extLst>
          </p:cNvPr>
          <p:cNvSpPr>
            <a:spLocks noGrp="1"/>
          </p:cNvSpPr>
          <p:nvPr>
            <p:ph type="sldNum" sz="quarter" idx="17"/>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33197619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s with sub-hea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8" name="Inhaltsplatzhalter 7"/>
          <p:cNvSpPr>
            <a:spLocks noGrp="1"/>
          </p:cNvSpPr>
          <p:nvPr>
            <p:ph sz="quarter" idx="13" hasCustomPrompt="1"/>
          </p:nvPr>
        </p:nvSpPr>
        <p:spPr>
          <a:xfrm>
            <a:off x="381000" y="1362494"/>
            <a:ext cx="4104000" cy="3342855"/>
          </a:xfrm>
        </p:spPr>
        <p:txBody>
          <a:bodyPr>
            <a:normAutofit/>
          </a:bodyPr>
          <a:lstStyle>
            <a:lvl1pPr>
              <a:buSzPct val="80000"/>
              <a:defRPr sz="1600"/>
            </a:lvl1pPr>
            <a:lvl2pPr>
              <a:defRPr sz="1400"/>
            </a:lvl2pPr>
            <a:lvl3pPr>
              <a:defRPr sz="1400"/>
            </a:lvl3pPr>
            <a:lvl4pPr>
              <a:defRPr sz="1100"/>
            </a:lvl4pPr>
            <a:lvl5pPr>
              <a:defRPr sz="11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Inhaltsplatzhalter 6"/>
          <p:cNvSpPr>
            <a:spLocks noGrp="1"/>
          </p:cNvSpPr>
          <p:nvPr>
            <p:ph sz="quarter" idx="14" hasCustomPrompt="1"/>
          </p:nvPr>
        </p:nvSpPr>
        <p:spPr>
          <a:xfrm>
            <a:off x="4659000" y="1363663"/>
            <a:ext cx="4104000" cy="3344400"/>
          </a:xfrm>
        </p:spPr>
        <p:txBody>
          <a:bodyPr>
            <a:normAutofit/>
          </a:bodyPr>
          <a:lstStyle>
            <a:lvl1pPr>
              <a:buSzPct val="80000"/>
              <a:defRPr sz="1600"/>
            </a:lvl1pPr>
            <a:lvl2pPr>
              <a:defRPr sz="1400"/>
            </a:lvl2pPr>
            <a:lvl3pPr>
              <a:defRPr sz="1400"/>
            </a:lvl3pPr>
            <a:lvl4pPr>
              <a:defRPr sz="1100"/>
            </a:lvl4pPr>
            <a:lvl5pPr>
              <a:defRPr sz="11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9" name="Textplatzhalter 8"/>
          <p:cNvSpPr>
            <a:spLocks noGrp="1"/>
          </p:cNvSpPr>
          <p:nvPr>
            <p:ph type="body" sz="quarter" idx="15" hasCustomPrompt="1"/>
          </p:nvPr>
        </p:nvSpPr>
        <p:spPr>
          <a:xfrm>
            <a:off x="381000" y="892175"/>
            <a:ext cx="4104000" cy="438150"/>
          </a:xfrm>
        </p:spPr>
        <p:txBody>
          <a:bodyPr anchor="ctr">
            <a:normAutofit/>
          </a:bodyPr>
          <a:lstStyle>
            <a:lvl1pPr marL="0" indent="0">
              <a:buNone/>
              <a:defRPr sz="1600" b="0">
                <a:solidFill>
                  <a:schemeClr val="tx2"/>
                </a:solidFill>
                <a:latin typeface="Calibri" panose="020B0604030504040204" pitchFamily="34" charset="0"/>
                <a:ea typeface="Calibri" panose="020B0604030504040204" pitchFamily="34" charset="0"/>
                <a:cs typeface="Calibri" panose="020B0604030504040204" pitchFamily="34" charset="0"/>
              </a:defRPr>
            </a:lvl1pPr>
          </a:lstStyle>
          <a:p>
            <a:pPr lvl="0"/>
            <a:r>
              <a:rPr lang="en-US" noProof="0" dirty="0" err="1"/>
              <a:t>Textmasterformat</a:t>
            </a:r>
            <a:r>
              <a:rPr lang="en-US" noProof="0" dirty="0"/>
              <a:t> </a:t>
            </a:r>
            <a:r>
              <a:rPr lang="en-US" noProof="0" dirty="0" err="1"/>
              <a:t>bearbeiten</a:t>
            </a:r>
            <a:endParaRPr lang="en-US" noProof="0" dirty="0"/>
          </a:p>
        </p:txBody>
      </p:sp>
      <p:sp>
        <p:nvSpPr>
          <p:cNvPr id="11" name="Textplatzhalter 10"/>
          <p:cNvSpPr>
            <a:spLocks noGrp="1"/>
          </p:cNvSpPr>
          <p:nvPr>
            <p:ph type="body" sz="quarter" idx="16" hasCustomPrompt="1"/>
          </p:nvPr>
        </p:nvSpPr>
        <p:spPr>
          <a:xfrm>
            <a:off x="4659000" y="892175"/>
            <a:ext cx="4104000" cy="438150"/>
          </a:xfrm>
        </p:spPr>
        <p:txBody>
          <a:bodyPr anchor="ctr">
            <a:normAutofit/>
          </a:bodyPr>
          <a:lstStyle>
            <a:lvl1pPr marL="0" indent="0">
              <a:buNone/>
              <a:defRPr sz="1600" b="0">
                <a:solidFill>
                  <a:schemeClr val="tx2"/>
                </a:solidFill>
                <a:latin typeface="Calibri" panose="020B0604030504040204" pitchFamily="34" charset="0"/>
                <a:ea typeface="Calibri" panose="020B0604030504040204" pitchFamily="34" charset="0"/>
                <a:cs typeface="Calibri" panose="020B0604030504040204" pitchFamily="34" charset="0"/>
              </a:defRPr>
            </a:lvl1pPr>
          </a:lstStyle>
          <a:p>
            <a:pPr lvl="0"/>
            <a:r>
              <a:rPr lang="en-US" noProof="0" dirty="0" err="1"/>
              <a:t>Textmasterformat</a:t>
            </a:r>
            <a:r>
              <a:rPr lang="en-US" noProof="0" dirty="0"/>
              <a:t> </a:t>
            </a:r>
            <a:r>
              <a:rPr lang="en-US" noProof="0" dirty="0" err="1"/>
              <a:t>bearbeiten</a:t>
            </a:r>
            <a:endParaRPr lang="en-US" noProof="0" dirty="0"/>
          </a:p>
        </p:txBody>
      </p:sp>
      <p:sp>
        <p:nvSpPr>
          <p:cNvPr id="5" name="Fußzeilenplatzhalter 4"/>
          <p:cNvSpPr>
            <a:spLocks noGrp="1"/>
          </p:cNvSpPr>
          <p:nvPr>
            <p:ph type="ftr" sz="quarter" idx="17"/>
          </p:nvPr>
        </p:nvSpPr>
        <p:spPr>
          <a:xfrm>
            <a:off x="390526" y="4767264"/>
            <a:ext cx="2367189" cy="273844"/>
          </a:xfrm>
          <a:prstGeom prst="rect">
            <a:avLst/>
          </a:prstGeom>
        </p:spPr>
        <p:txBody>
          <a:bodyPr/>
          <a:lstStyle/>
          <a:p>
            <a:pPr algn="l"/>
            <a:r>
              <a:rPr lang="en-US" noProof="0"/>
              <a:t>internal / external/ confidential </a:t>
            </a:r>
          </a:p>
        </p:txBody>
      </p:sp>
      <p:sp>
        <p:nvSpPr>
          <p:cNvPr id="14" name="Foliennummernplatzhalter 13"/>
          <p:cNvSpPr>
            <a:spLocks noGrp="1"/>
          </p:cNvSpPr>
          <p:nvPr>
            <p:ph type="sldNum" sz="quarter" idx="18"/>
          </p:nvPr>
        </p:nvSpPr>
        <p:spPr/>
        <p:txBody>
          <a:bodyPr/>
          <a:lstStyle/>
          <a:p>
            <a:fld id="{90223409-09FC-4660-A923-5454ABA2BCF5}" type="slidenum">
              <a:rPr lang="en-US" noProof="0" smtClean="0"/>
              <a:pPr/>
              <a:t>‹#›</a:t>
            </a:fld>
            <a:endParaRPr lang="en-US" noProof="0"/>
          </a:p>
        </p:txBody>
      </p:sp>
      <p:cxnSp>
        <p:nvCxnSpPr>
          <p:cNvPr id="12" name="Straight Connector 6">
            <a:extLst>
              <a:ext uri="{FF2B5EF4-FFF2-40B4-BE49-F238E27FC236}">
                <a16:creationId xmlns:a16="http://schemas.microsoft.com/office/drawing/2014/main" id="{B4378283-213C-4425-8843-CBB1E1FDAFB7}"/>
              </a:ext>
            </a:extLst>
          </p:cNvPr>
          <p:cNvCxnSpPr/>
          <p:nvPr/>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04021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3.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5"/>
            </p:custDataLst>
            <p:extLst>
              <p:ext uri="{D42A27DB-BD31-4B8C-83A1-F6EECF244321}">
                <p14:modId xmlns:p14="http://schemas.microsoft.com/office/powerpoint/2010/main" val="203117105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5146" name="think-cell Folie" r:id="rId16" imgW="270" imgH="270" progId="TCLayout.ActiveDocument.1">
                  <p:embed/>
                </p:oleObj>
              </mc:Choice>
              <mc:Fallback>
                <p:oleObj name="think-cell Folie" r:id="rId16" imgW="270" imgH="270" progId="TCLayout.ActiveDocument.1">
                  <p:embed/>
                  <p:pic>
                    <p:nvPicPr>
                      <p:cNvPr id="0" name=""/>
                      <p:cNvPicPr/>
                      <p:nvPr/>
                    </p:nvPicPr>
                    <p:blipFill>
                      <a:blip r:embed="rId17"/>
                      <a:stretch>
                        <a:fillRect/>
                      </a:stretch>
                    </p:blipFill>
                    <p:spPr>
                      <a:xfrm>
                        <a:off x="1589" y="1192"/>
                        <a:ext cx="1587" cy="1190"/>
                      </a:xfrm>
                      <a:prstGeom prst="rect">
                        <a:avLst/>
                      </a:prstGeom>
                    </p:spPr>
                  </p:pic>
                </p:oleObj>
              </mc:Fallback>
            </mc:AlternateContent>
          </a:graphicData>
        </a:graphic>
      </p:graphicFrame>
      <p:sp>
        <p:nvSpPr>
          <p:cNvPr id="17" name="Slide Number Placeholder 5"/>
          <p:cNvSpPr>
            <a:spLocks noGrp="1"/>
          </p:cNvSpPr>
          <p:nvPr>
            <p:ph type="sldNum" sz="quarter" idx="4"/>
          </p:nvPr>
        </p:nvSpPr>
        <p:spPr>
          <a:xfrm>
            <a:off x="8305800" y="4767264"/>
            <a:ext cx="457200" cy="273844"/>
          </a:xfrm>
          <a:prstGeom prst="rect">
            <a:avLst/>
          </a:prstGeom>
        </p:spPr>
        <p:txBody>
          <a:bodyPr vert="horz" lIns="0" tIns="0" rIns="0" bIns="0" rtlCol="0" anchor="ctr"/>
          <a:lstStyle>
            <a:lvl1pPr algn="r">
              <a:defRPr sz="1000">
                <a:solidFill>
                  <a:srgbClr val="4D4D4D"/>
                </a:solidFill>
                <a:latin typeface="+mn-lt"/>
                <a:cs typeface="Calibri" panose="020B0604020202020204" pitchFamily="34" charset="0"/>
              </a:defRPr>
            </a:lvl1pPr>
          </a:lstStyle>
          <a:p>
            <a:fld id="{90223409-09FC-4660-A923-5454ABA2BCF5}" type="slidenum">
              <a:rPr lang="en-US" noProof="0" smtClean="0"/>
              <a:pPr/>
              <a:t>‹#›</a:t>
            </a:fld>
            <a:endParaRPr lang="en-US" noProof="0" dirty="0"/>
          </a:p>
        </p:txBody>
      </p:sp>
      <p:sp>
        <p:nvSpPr>
          <p:cNvPr id="19" name="Textplatzhalter 2"/>
          <p:cNvSpPr>
            <a:spLocks noGrp="1"/>
          </p:cNvSpPr>
          <p:nvPr>
            <p:ph type="body" idx="1"/>
          </p:nvPr>
        </p:nvSpPr>
        <p:spPr>
          <a:xfrm>
            <a:off x="381000" y="895350"/>
            <a:ext cx="8382000" cy="3810000"/>
          </a:xfrm>
          <a:prstGeom prst="rect">
            <a:avLst/>
          </a:prstGeom>
        </p:spPr>
        <p:txBody>
          <a:bodyPr vert="horz" lIns="0" tIns="0" rIns="0" bIns="0" rtlCol="0">
            <a:normAutofit/>
          </a:body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18" name="Titelplatzhalter 1"/>
          <p:cNvSpPr>
            <a:spLocks noGrp="1"/>
          </p:cNvSpPr>
          <p:nvPr>
            <p:ph type="title"/>
          </p:nvPr>
        </p:nvSpPr>
        <p:spPr>
          <a:xfrm>
            <a:off x="381000" y="57150"/>
            <a:ext cx="6553200" cy="685800"/>
          </a:xfrm>
          <a:prstGeom prst="rect">
            <a:avLst/>
          </a:prstGeom>
        </p:spPr>
        <p:txBody>
          <a:bodyPr vert="horz" lIns="0" tIns="0" rIns="0" bIns="0" rtlCol="0" anchor="ctr">
            <a:normAutofit/>
          </a:bodyPr>
          <a:lstStyle/>
          <a:p>
            <a:r>
              <a:rPr lang="en-US" noProof="0"/>
              <a:t>Titelmasterformat durch Klicken bearbeiten</a:t>
            </a:r>
          </a:p>
        </p:txBody>
      </p:sp>
      <p:cxnSp>
        <p:nvCxnSpPr>
          <p:cNvPr id="22" name="Straight Connector 6"/>
          <p:cNvCxnSpPr/>
          <p:nvPr/>
        </p:nvCxnSpPr>
        <p:spPr>
          <a:xfrm>
            <a:off x="381000" y="774849"/>
            <a:ext cx="838200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3512457" y="4767263"/>
            <a:ext cx="2119086" cy="272700"/>
          </a:xfrm>
          <a:prstGeom prst="rect">
            <a:avLst/>
          </a:prstGeom>
        </p:spPr>
        <p:txBody>
          <a:bodyPr vert="horz" wrap="square" lIns="0" tIns="0" rIns="0" bIns="0" rtlCol="0" anchor="ctr"/>
          <a:lstStyle>
            <a:defPPr>
              <a:defRPr lang="de-DE"/>
            </a:defPPr>
            <a:lvl1pPr>
              <a:defRPr sz="1000">
                <a:solidFill>
                  <a:srgbClr val="4D4D4D"/>
                </a:solidFill>
                <a:cs typeface="Calibri" panose="020B0604020202020204" pitchFamily="34" charset="0"/>
              </a:defRPr>
            </a:lvl1pPr>
          </a:lstStyle>
          <a:p>
            <a:pPr lvl="0" algn="ctr"/>
            <a:r>
              <a:rPr lang="en-US" noProof="0"/>
              <a:t>Celanese Corporation</a:t>
            </a:r>
          </a:p>
        </p:txBody>
      </p:sp>
      <p:pic>
        <p:nvPicPr>
          <p:cNvPr id="11" name="Picture 16" descr="C:\Users\DALLA2\AppData\Local\Temp\PKE5E3.tmp\Celanese new logo_color 400.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461701" y="197255"/>
            <a:ext cx="1295400" cy="389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ußzeilenplatzhalter 1">
            <a:extLst>
              <a:ext uri="{FF2B5EF4-FFF2-40B4-BE49-F238E27FC236}">
                <a16:creationId xmlns:a16="http://schemas.microsoft.com/office/drawing/2014/main" id="{6658FF5A-FF44-4B49-B448-A41928B6DE23}"/>
              </a:ext>
            </a:extLst>
          </p:cNvPr>
          <p:cNvSpPr>
            <a:spLocks noGrp="1"/>
          </p:cNvSpPr>
          <p:nvPr>
            <p:ph type="ftr" sz="quarter" idx="3"/>
          </p:nvPr>
        </p:nvSpPr>
        <p:spPr>
          <a:xfrm>
            <a:off x="381000" y="4767263"/>
            <a:ext cx="3086100" cy="274637"/>
          </a:xfrm>
          <a:prstGeom prst="rect">
            <a:avLst/>
          </a:prstGeom>
        </p:spPr>
        <p:txBody>
          <a:bodyPr vert="horz" lIns="0" tIns="0" rIns="0" bIns="0" rtlCol="0" anchor="ctr"/>
          <a:lstStyle>
            <a:lvl1pPr algn="l">
              <a:defRPr sz="1000">
                <a:solidFill>
                  <a:srgbClr val="4D4D4D"/>
                </a:solidFill>
              </a:defRPr>
            </a:lvl1pPr>
          </a:lstStyle>
          <a:p>
            <a:r>
              <a:rPr lang="en-US"/>
              <a:t>internal / external/ confidential </a:t>
            </a:r>
            <a:endParaRPr lang="en-US" dirty="0"/>
          </a:p>
        </p:txBody>
      </p:sp>
      <p:sp>
        <p:nvSpPr>
          <p:cNvPr id="4" name="MSIPCMContentMarking" descr="{&quot;HashCode&quot;:-1348403003,&quot;Placement&quot;:&quot;Footer&quot;}">
            <a:extLst>
              <a:ext uri="{FF2B5EF4-FFF2-40B4-BE49-F238E27FC236}">
                <a16:creationId xmlns:a16="http://schemas.microsoft.com/office/drawing/2014/main" id="{7DBC8A68-95BF-42DD-9749-C7C8078CAB43}"/>
              </a:ext>
            </a:extLst>
          </p:cNvPr>
          <p:cNvSpPr txBox="1"/>
          <p:nvPr userDrawn="1"/>
        </p:nvSpPr>
        <p:spPr>
          <a:xfrm>
            <a:off x="0" y="4903548"/>
            <a:ext cx="2130404" cy="239952"/>
          </a:xfrm>
          <a:prstGeom prst="rect">
            <a:avLst/>
          </a:prstGeom>
          <a:noFill/>
        </p:spPr>
        <p:txBody>
          <a:bodyPr vert="horz" wrap="square" lIns="0" tIns="0" rIns="0" bIns="0" rtlCol="0" anchor="ctr" anchorCtr="1">
            <a:spAutoFit/>
          </a:bodyPr>
          <a:lstStyle/>
          <a:p>
            <a:pPr algn="l">
              <a:spcBef>
                <a:spcPts val="0"/>
              </a:spcBef>
              <a:spcAft>
                <a:spcPts val="0"/>
              </a:spcAft>
            </a:pPr>
            <a:r>
              <a:rPr lang="en-GB" sz="900">
                <a:solidFill>
                  <a:srgbClr val="0078D7"/>
                </a:solidFill>
                <a:latin typeface="Rockwell" panose="02060603020205020403" pitchFamily="18" charset="0"/>
              </a:rPr>
              <a:t>Information Classification: General</a:t>
            </a:r>
          </a:p>
        </p:txBody>
      </p:sp>
    </p:spTree>
    <p:extLst>
      <p:ext uri="{BB962C8B-B14F-4D97-AF65-F5344CB8AC3E}">
        <p14:creationId xmlns:p14="http://schemas.microsoft.com/office/powerpoint/2010/main" val="627053165"/>
      </p:ext>
    </p:extLst>
  </p:cSld>
  <p:clrMap bg1="lt1" tx1="dk1" bg2="lt2" tx2="dk2" accent1="accent1" accent2="accent2" accent3="accent3" accent4="accent4" accent5="accent5" accent6="accent6" hlink="hlink" folHlink="folHlink"/>
  <p:sldLayoutIdLst>
    <p:sldLayoutId id="2147483782" r:id="rId1"/>
    <p:sldLayoutId id="2147483795" r:id="rId2"/>
    <p:sldLayoutId id="2147483779" r:id="rId3"/>
    <p:sldLayoutId id="2147483793" r:id="rId4"/>
    <p:sldLayoutId id="2147483780" r:id="rId5"/>
    <p:sldLayoutId id="2147483796" r:id="rId6"/>
    <p:sldLayoutId id="2147483799" r:id="rId7"/>
    <p:sldLayoutId id="2147483798" r:id="rId8"/>
    <p:sldLayoutId id="2147483800" r:id="rId9"/>
    <p:sldLayoutId id="2147483797" r:id="rId10"/>
    <p:sldLayoutId id="2147483794" r:id="rId11"/>
    <p:sldLayoutId id="2147483801" r:id="rId12"/>
  </p:sldLayoutIdLst>
  <p:hf hdr="0" dt="0"/>
  <p:txStyles>
    <p:titleStyle>
      <a:lvl1pPr algn="l" defTabSz="914400" rtl="0" eaLnBrk="1" latinLnBrk="0" hangingPunct="1">
        <a:spcBef>
          <a:spcPct val="0"/>
        </a:spcBef>
        <a:buNone/>
        <a:defRPr sz="2000" b="0" kern="1200">
          <a:solidFill>
            <a:srgbClr val="4D4D4D"/>
          </a:solidFill>
          <a:latin typeface="+mj-lt"/>
          <a:ea typeface="+mj-ea"/>
          <a:cs typeface="+mj-cs"/>
        </a:defRPr>
      </a:lvl1pPr>
    </p:titleStyle>
    <p:bodyStyle>
      <a:lvl1pPr marL="268288" indent="-268288" algn="l" defTabSz="914400" rtl="0" eaLnBrk="1" latinLnBrk="0" hangingPunct="1">
        <a:spcBef>
          <a:spcPts val="600"/>
        </a:spcBef>
        <a:buClr>
          <a:schemeClr val="tx2"/>
        </a:buClr>
        <a:buSzPct val="9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5"/>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7121" name="think-cell Folie" r:id="rId16" imgW="270" imgH="270" progId="TCLayout.ActiveDocument.1">
                  <p:embed/>
                </p:oleObj>
              </mc:Choice>
              <mc:Fallback>
                <p:oleObj name="think-cell Folie" r:id="rId16" imgW="270" imgH="270" progId="TCLayout.ActiveDocument.1">
                  <p:embed/>
                  <p:pic>
                    <p:nvPicPr>
                      <p:cNvPr id="9" name="Objekt 8" hidden="1"/>
                      <p:cNvPicPr/>
                      <p:nvPr/>
                    </p:nvPicPr>
                    <p:blipFill>
                      <a:blip r:embed="rId17"/>
                      <a:stretch>
                        <a:fillRect/>
                      </a:stretch>
                    </p:blipFill>
                    <p:spPr>
                      <a:xfrm>
                        <a:off x="1589" y="1192"/>
                        <a:ext cx="1587" cy="1190"/>
                      </a:xfrm>
                      <a:prstGeom prst="rect">
                        <a:avLst/>
                      </a:prstGeom>
                    </p:spPr>
                  </p:pic>
                </p:oleObj>
              </mc:Fallback>
            </mc:AlternateContent>
          </a:graphicData>
        </a:graphic>
      </p:graphicFrame>
      <p:sp>
        <p:nvSpPr>
          <p:cNvPr id="17" name="Slide Number Placeholder 5"/>
          <p:cNvSpPr>
            <a:spLocks noGrp="1"/>
          </p:cNvSpPr>
          <p:nvPr>
            <p:ph type="sldNum" sz="quarter" idx="4"/>
          </p:nvPr>
        </p:nvSpPr>
        <p:spPr>
          <a:xfrm>
            <a:off x="8305800" y="4767264"/>
            <a:ext cx="457200" cy="273844"/>
          </a:xfrm>
          <a:prstGeom prst="rect">
            <a:avLst/>
          </a:prstGeom>
        </p:spPr>
        <p:txBody>
          <a:bodyPr vert="horz" lIns="0" tIns="0" rIns="0" bIns="0" rtlCol="0" anchor="ctr"/>
          <a:lstStyle>
            <a:lvl1pPr algn="r">
              <a:defRPr sz="1000">
                <a:solidFill>
                  <a:srgbClr val="4D4D4D"/>
                </a:solidFill>
                <a:latin typeface="+mn-lt"/>
                <a:cs typeface="Calibri" panose="020B0604020202020204" pitchFamily="34" charset="0"/>
              </a:defRPr>
            </a:lvl1pPr>
          </a:lstStyle>
          <a:p>
            <a:fld id="{90223409-09FC-4660-A923-5454ABA2BCF5}" type="slidenum">
              <a:rPr lang="en-US" noProof="0" smtClean="0"/>
              <a:pPr/>
              <a:t>‹#›</a:t>
            </a:fld>
            <a:endParaRPr lang="en-US" noProof="0" dirty="0"/>
          </a:p>
        </p:txBody>
      </p:sp>
      <p:sp>
        <p:nvSpPr>
          <p:cNvPr id="19" name="Textplatzhalter 2"/>
          <p:cNvSpPr>
            <a:spLocks noGrp="1"/>
          </p:cNvSpPr>
          <p:nvPr>
            <p:ph type="body" idx="1"/>
          </p:nvPr>
        </p:nvSpPr>
        <p:spPr>
          <a:xfrm>
            <a:off x="381000" y="895350"/>
            <a:ext cx="8382000" cy="3810000"/>
          </a:xfrm>
          <a:prstGeom prst="rect">
            <a:avLst/>
          </a:prstGeom>
        </p:spPr>
        <p:txBody>
          <a:bodyPr vert="horz" lIns="0" tIns="0" rIns="0" bIns="0" rtlCol="0">
            <a:normAutofit/>
          </a:body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18" name="Titelplatzhalter 1"/>
          <p:cNvSpPr>
            <a:spLocks noGrp="1"/>
          </p:cNvSpPr>
          <p:nvPr>
            <p:ph type="title"/>
          </p:nvPr>
        </p:nvSpPr>
        <p:spPr>
          <a:xfrm>
            <a:off x="381000" y="57150"/>
            <a:ext cx="6553200" cy="685800"/>
          </a:xfrm>
          <a:prstGeom prst="rect">
            <a:avLst/>
          </a:prstGeom>
        </p:spPr>
        <p:txBody>
          <a:bodyPr vert="horz" lIns="0" tIns="0" rIns="0" bIns="0" rtlCol="0" anchor="ctr">
            <a:normAutofit/>
          </a:bodyPr>
          <a:lstStyle/>
          <a:p>
            <a:r>
              <a:rPr lang="en-US" noProof="0"/>
              <a:t>Titelmasterformat durch Klicken bearbeiten</a:t>
            </a:r>
          </a:p>
        </p:txBody>
      </p:sp>
      <p:cxnSp>
        <p:nvCxnSpPr>
          <p:cNvPr id="22" name="Straight Connector 6"/>
          <p:cNvCxnSpPr/>
          <p:nvPr/>
        </p:nvCxnSpPr>
        <p:spPr>
          <a:xfrm>
            <a:off x="381000" y="774849"/>
            <a:ext cx="838200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userDrawn="1"/>
        </p:nvSpPr>
        <p:spPr>
          <a:xfrm>
            <a:off x="3512457" y="4767263"/>
            <a:ext cx="2119086" cy="272700"/>
          </a:xfrm>
          <a:prstGeom prst="rect">
            <a:avLst/>
          </a:prstGeom>
        </p:spPr>
        <p:txBody>
          <a:bodyPr vert="horz" wrap="square" lIns="0" tIns="0" rIns="0" bIns="0" rtlCol="0" anchor="ctr"/>
          <a:lstStyle>
            <a:defPPr>
              <a:defRPr lang="de-DE"/>
            </a:defPPr>
            <a:lvl1pPr>
              <a:defRPr sz="1000">
                <a:solidFill>
                  <a:srgbClr val="4D4D4D"/>
                </a:solidFill>
                <a:cs typeface="Calibri" panose="020B0604020202020204" pitchFamily="34" charset="0"/>
              </a:defRPr>
            </a:lvl1pPr>
          </a:lstStyle>
          <a:p>
            <a:pPr lvl="0" algn="ctr"/>
            <a:r>
              <a:rPr lang="en-US" noProof="0"/>
              <a:t>Celanese Corporation</a:t>
            </a:r>
          </a:p>
        </p:txBody>
      </p:sp>
      <p:pic>
        <p:nvPicPr>
          <p:cNvPr id="11" name="Picture 16" descr="C:\Users\DALLA2\AppData\Local\Temp\PKE5E3.tmp\Celanese new logo_color 400.pn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7461701" y="197255"/>
            <a:ext cx="1295400" cy="389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ußzeilenplatzhalter 1">
            <a:extLst>
              <a:ext uri="{FF2B5EF4-FFF2-40B4-BE49-F238E27FC236}">
                <a16:creationId xmlns:a16="http://schemas.microsoft.com/office/drawing/2014/main" id="{6658FF5A-FF44-4B49-B448-A41928B6DE23}"/>
              </a:ext>
            </a:extLst>
          </p:cNvPr>
          <p:cNvSpPr>
            <a:spLocks noGrp="1"/>
          </p:cNvSpPr>
          <p:nvPr>
            <p:ph type="ftr" sz="quarter" idx="3"/>
          </p:nvPr>
        </p:nvSpPr>
        <p:spPr>
          <a:xfrm>
            <a:off x="381000" y="4767263"/>
            <a:ext cx="3086100" cy="274637"/>
          </a:xfrm>
          <a:prstGeom prst="rect">
            <a:avLst/>
          </a:prstGeom>
        </p:spPr>
        <p:txBody>
          <a:bodyPr vert="horz" lIns="0" tIns="0" rIns="0" bIns="0" rtlCol="0" anchor="ctr"/>
          <a:lstStyle>
            <a:lvl1pPr algn="l">
              <a:defRPr sz="1000">
                <a:solidFill>
                  <a:srgbClr val="4D4D4D"/>
                </a:solidFill>
              </a:defRPr>
            </a:lvl1pPr>
          </a:lstStyle>
          <a:p>
            <a:r>
              <a:rPr lang="en-US"/>
              <a:t>internal / external/ confidential </a:t>
            </a:r>
            <a:endParaRPr lang="en-US" dirty="0"/>
          </a:p>
        </p:txBody>
      </p:sp>
      <p:sp>
        <p:nvSpPr>
          <p:cNvPr id="4" name="MSIPCMContentMarking" descr="{&quot;HashCode&quot;:-1348403003,&quot;Placement&quot;:&quot;Footer&quot;}">
            <a:extLst>
              <a:ext uri="{FF2B5EF4-FFF2-40B4-BE49-F238E27FC236}">
                <a16:creationId xmlns:a16="http://schemas.microsoft.com/office/drawing/2014/main" id="{6D102F02-A542-468F-8AEC-4CA98714EDE4}"/>
              </a:ext>
            </a:extLst>
          </p:cNvPr>
          <p:cNvSpPr txBox="1"/>
          <p:nvPr userDrawn="1"/>
        </p:nvSpPr>
        <p:spPr>
          <a:xfrm>
            <a:off x="0" y="4903548"/>
            <a:ext cx="2130404" cy="239952"/>
          </a:xfrm>
          <a:prstGeom prst="rect">
            <a:avLst/>
          </a:prstGeom>
          <a:noFill/>
        </p:spPr>
        <p:txBody>
          <a:bodyPr vert="horz" wrap="square" lIns="0" tIns="0" rIns="0" bIns="0" rtlCol="0" anchor="ctr" anchorCtr="1">
            <a:spAutoFit/>
          </a:bodyPr>
          <a:lstStyle/>
          <a:p>
            <a:pPr algn="l">
              <a:spcBef>
                <a:spcPts val="0"/>
              </a:spcBef>
              <a:spcAft>
                <a:spcPts val="0"/>
              </a:spcAft>
            </a:pPr>
            <a:r>
              <a:rPr lang="en-GB" sz="900">
                <a:solidFill>
                  <a:srgbClr val="0078D7"/>
                </a:solidFill>
                <a:latin typeface="Rockwell" panose="02060603020205020403" pitchFamily="18" charset="0"/>
              </a:rPr>
              <a:t>Information Classification: General</a:t>
            </a:r>
          </a:p>
        </p:txBody>
      </p:sp>
    </p:spTree>
    <p:extLst>
      <p:ext uri="{BB962C8B-B14F-4D97-AF65-F5344CB8AC3E}">
        <p14:creationId xmlns:p14="http://schemas.microsoft.com/office/powerpoint/2010/main" val="165843854"/>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Lst>
  <p:hf hdr="0" dt="0"/>
  <p:txStyles>
    <p:titleStyle>
      <a:lvl1pPr algn="l" defTabSz="914400" rtl="0" eaLnBrk="1" latinLnBrk="0" hangingPunct="1">
        <a:spcBef>
          <a:spcPct val="0"/>
        </a:spcBef>
        <a:buNone/>
        <a:defRPr sz="2000" b="0" kern="1200">
          <a:solidFill>
            <a:srgbClr val="4D4D4D"/>
          </a:solidFill>
          <a:latin typeface="+mj-lt"/>
          <a:ea typeface="+mj-ea"/>
          <a:cs typeface="+mj-cs"/>
        </a:defRPr>
      </a:lvl1pPr>
    </p:titleStyle>
    <p:bodyStyle>
      <a:lvl1pPr marL="268288" indent="-268288" algn="l" defTabSz="914400" rtl="0" eaLnBrk="1" latinLnBrk="0" hangingPunct="1">
        <a:spcBef>
          <a:spcPts val="600"/>
        </a:spcBef>
        <a:buClr>
          <a:schemeClr val="tx2"/>
        </a:buClr>
        <a:buSzPct val="9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jpeg"/><Relationship Id="rId7" Type="http://schemas.openxmlformats.org/officeDocument/2006/relationships/image" Target="../media/image11.sv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0.png"/><Relationship Id="rId5" Type="http://schemas.microsoft.com/office/2007/relationships/hdphoto" Target="../media/hdphoto1.wdp"/><Relationship Id="rId4" Type="http://schemas.openxmlformats.org/officeDocument/2006/relationships/image" Target="../media/image9.png"/><Relationship Id="rId9"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BDFFF6-29D7-478E-8931-48B257712964}"/>
              </a:ext>
            </a:extLst>
          </p:cNvPr>
          <p:cNvSpPr>
            <a:spLocks noGrp="1"/>
          </p:cNvSpPr>
          <p:nvPr>
            <p:ph type="ctrTitle"/>
          </p:nvPr>
        </p:nvSpPr>
        <p:spPr/>
        <p:txBody>
          <a:bodyPr/>
          <a:lstStyle/>
          <a:p>
            <a:r>
              <a:rPr lang="en-US" b="1" dirty="0"/>
              <a:t>Differentiated materials for innovative injection systems</a:t>
            </a:r>
            <a:r>
              <a:rPr lang="en-US" dirty="0"/>
              <a:t> </a:t>
            </a:r>
          </a:p>
        </p:txBody>
      </p:sp>
      <p:sp>
        <p:nvSpPr>
          <p:cNvPr id="5" name="Sottotitolo 4">
            <a:extLst>
              <a:ext uri="{FF2B5EF4-FFF2-40B4-BE49-F238E27FC236}">
                <a16:creationId xmlns:a16="http://schemas.microsoft.com/office/drawing/2014/main" id="{9294A48D-0182-4B78-927C-8B57036DF936}"/>
              </a:ext>
            </a:extLst>
          </p:cNvPr>
          <p:cNvSpPr>
            <a:spLocks noGrp="1"/>
          </p:cNvSpPr>
          <p:nvPr>
            <p:ph type="subTitle" idx="1"/>
          </p:nvPr>
        </p:nvSpPr>
        <p:spPr/>
        <p:txBody>
          <a:bodyPr/>
          <a:lstStyle/>
          <a:p>
            <a:r>
              <a:rPr lang="it-IT" dirty="0"/>
              <a:t>Christian Helgert</a:t>
            </a:r>
          </a:p>
          <a:p>
            <a:pPr>
              <a:lnSpc>
                <a:spcPct val="80000"/>
              </a:lnSpc>
            </a:pPr>
            <a:r>
              <a:rPr lang="it-IT" dirty="0"/>
              <a:t>Business Development Leader, EMEA</a:t>
            </a:r>
          </a:p>
        </p:txBody>
      </p:sp>
    </p:spTree>
    <p:extLst>
      <p:ext uri="{BB962C8B-B14F-4D97-AF65-F5344CB8AC3E}">
        <p14:creationId xmlns:p14="http://schemas.microsoft.com/office/powerpoint/2010/main" val="13831224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rotWithShape="1">
          <a:blip r:embed="rId2"/>
          <a:srcRect b="10337"/>
          <a:stretch/>
        </p:blipFill>
        <p:spPr>
          <a:xfrm>
            <a:off x="0" y="2"/>
            <a:ext cx="9144000" cy="5143498"/>
          </a:xfrm>
          <a:prstGeom prst="rect">
            <a:avLst/>
          </a:prstGeom>
          <a:ln w="28575">
            <a:noFill/>
          </a:ln>
        </p:spPr>
      </p:pic>
      <p:sp>
        <p:nvSpPr>
          <p:cNvPr id="2" name="Titel 1"/>
          <p:cNvSpPr>
            <a:spLocks noGrp="1"/>
          </p:cNvSpPr>
          <p:nvPr>
            <p:ph type="ctrTitle"/>
          </p:nvPr>
        </p:nvSpPr>
        <p:spPr/>
        <p:txBody>
          <a:bodyPr/>
          <a:lstStyle/>
          <a:p>
            <a:r>
              <a:rPr lang="en-GB" dirty="0"/>
              <a:t>Medical wearable devices </a:t>
            </a:r>
            <a:endParaRPr lang="en-US" dirty="0"/>
          </a:p>
        </p:txBody>
      </p:sp>
      <p:sp>
        <p:nvSpPr>
          <p:cNvPr id="3" name="Untertitel 2"/>
          <p:cNvSpPr>
            <a:spLocks noGrp="1"/>
          </p:cNvSpPr>
          <p:nvPr>
            <p:ph type="subTitle" idx="1"/>
          </p:nvPr>
        </p:nvSpPr>
        <p:spPr>
          <a:xfrm>
            <a:off x="723900" y="1987102"/>
            <a:ext cx="4135484" cy="1162229"/>
          </a:xfrm>
        </p:spPr>
        <p:txBody>
          <a:bodyPr>
            <a:normAutofit/>
          </a:bodyPr>
          <a:lstStyle/>
          <a:p>
            <a:pPr>
              <a:lnSpc>
                <a:spcPct val="80000"/>
              </a:lnSpc>
            </a:pPr>
            <a:r>
              <a:rPr lang="en-GB" sz="2500" dirty="0"/>
              <a:t>Material differentiation and customer enabling capabilities</a:t>
            </a:r>
            <a:endParaRPr lang="en-US" sz="2500" dirty="0"/>
          </a:p>
        </p:txBody>
      </p:sp>
      <p:cxnSp>
        <p:nvCxnSpPr>
          <p:cNvPr id="5" name="Connettore diritto 4">
            <a:extLst>
              <a:ext uri="{FF2B5EF4-FFF2-40B4-BE49-F238E27FC236}">
                <a16:creationId xmlns:a16="http://schemas.microsoft.com/office/drawing/2014/main" id="{94A2A26D-BA62-4567-8F36-18A6D4DF8E5C}"/>
              </a:ext>
            </a:extLst>
          </p:cNvPr>
          <p:cNvCxnSpPr/>
          <p:nvPr/>
        </p:nvCxnSpPr>
        <p:spPr>
          <a:xfrm>
            <a:off x="723900" y="1885951"/>
            <a:ext cx="3710940" cy="0"/>
          </a:xfrm>
          <a:prstGeom prst="line">
            <a:avLst/>
          </a:prstGeom>
          <a:ln w="19050">
            <a:solidFill>
              <a:srgbClr val="F793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66555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Arrow: Pentagon 37">
            <a:extLst>
              <a:ext uri="{FF2B5EF4-FFF2-40B4-BE49-F238E27FC236}">
                <a16:creationId xmlns:a16="http://schemas.microsoft.com/office/drawing/2014/main" id="{119D5560-58F8-4440-990A-34DE6C519C12}"/>
              </a:ext>
            </a:extLst>
          </p:cNvPr>
          <p:cNvSpPr/>
          <p:nvPr/>
        </p:nvSpPr>
        <p:spPr>
          <a:xfrm>
            <a:off x="390526" y="979617"/>
            <a:ext cx="4147719" cy="2117351"/>
          </a:xfrm>
          <a:prstGeom prst="homePlate">
            <a:avLst>
              <a:gd name="adj" fmla="val 11764"/>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CED1717-EAA1-4A95-956B-5C822B4E9653}"/>
              </a:ext>
            </a:extLst>
          </p:cNvPr>
          <p:cNvSpPr>
            <a:spLocks noGrp="1"/>
          </p:cNvSpPr>
          <p:nvPr>
            <p:ph type="title"/>
          </p:nvPr>
        </p:nvSpPr>
        <p:spPr/>
        <p:txBody>
          <a:bodyPr>
            <a:normAutofit fontScale="90000"/>
          </a:bodyPr>
          <a:lstStyle/>
          <a:p>
            <a:r>
              <a:rPr lang="en-US" sz="1800" dirty="0">
                <a:solidFill>
                  <a:schemeClr val="tx1"/>
                </a:solidFill>
              </a:rPr>
              <a:t>Celanese’s Differentiated Large Volume Wearable Pump Solutions with Vectra® MT® LCP, Hostaform® MT® </a:t>
            </a:r>
            <a:r>
              <a:rPr lang="en-US" sz="1800" dirty="0" err="1">
                <a:solidFill>
                  <a:schemeClr val="tx1"/>
                </a:solidFill>
              </a:rPr>
              <a:t>SlideX</a:t>
            </a:r>
            <a:r>
              <a:rPr lang="en-US" sz="1800" dirty="0">
                <a:solidFill>
                  <a:schemeClr val="tx1"/>
                </a:solidFill>
              </a:rPr>
              <a:t>® POM &amp; </a:t>
            </a:r>
            <a:r>
              <a:rPr lang="en-US" sz="1800" dirty="0" err="1">
                <a:solidFill>
                  <a:schemeClr val="tx1"/>
                </a:solidFill>
              </a:rPr>
              <a:t>Celanex</a:t>
            </a:r>
            <a:r>
              <a:rPr lang="en-US" sz="1800" dirty="0">
                <a:solidFill>
                  <a:schemeClr val="tx1"/>
                </a:solidFill>
              </a:rPr>
              <a:t>® MT® </a:t>
            </a:r>
            <a:r>
              <a:rPr lang="en-US" sz="1800" dirty="0" err="1">
                <a:solidFill>
                  <a:schemeClr val="tx1"/>
                </a:solidFill>
              </a:rPr>
              <a:t>SlideX</a:t>
            </a:r>
            <a:r>
              <a:rPr lang="en-US" sz="1800" dirty="0">
                <a:solidFill>
                  <a:schemeClr val="tx1"/>
                </a:solidFill>
              </a:rPr>
              <a:t>® PBT </a:t>
            </a:r>
          </a:p>
        </p:txBody>
      </p:sp>
      <p:sp>
        <p:nvSpPr>
          <p:cNvPr id="6" name="Slide Number Placeholder 5">
            <a:extLst>
              <a:ext uri="{FF2B5EF4-FFF2-40B4-BE49-F238E27FC236}">
                <a16:creationId xmlns:a16="http://schemas.microsoft.com/office/drawing/2014/main" id="{9D6D6BC3-B01C-4DB6-BAC0-0447227BCE92}"/>
              </a:ext>
            </a:extLst>
          </p:cNvPr>
          <p:cNvSpPr>
            <a:spLocks noGrp="1"/>
          </p:cNvSpPr>
          <p:nvPr>
            <p:ph type="sldNum" sz="quarter" idx="15"/>
          </p:nvPr>
        </p:nvSpPr>
        <p:spPr/>
        <p:txBody>
          <a:bodyPr vert="horz" lIns="0" tIns="0" rIns="0" bIns="0" rtlCol="0" anchor="ctr"/>
          <a:lstStyle/>
          <a:p>
            <a:pPr defTabSz="685800"/>
            <a:fld id="{90223409-09FC-4660-A923-5454ABA2BCF5}" type="slidenum">
              <a:rPr lang="en-US" sz="750" smtClean="0">
                <a:latin typeface="Calibri"/>
              </a:rPr>
              <a:pPr defTabSz="685800"/>
              <a:t>11</a:t>
            </a:fld>
            <a:endParaRPr lang="en-US" sz="750" dirty="0">
              <a:latin typeface="Calibri"/>
            </a:endParaRPr>
          </a:p>
        </p:txBody>
      </p:sp>
      <p:grpSp>
        <p:nvGrpSpPr>
          <p:cNvPr id="45" name="Group 44">
            <a:extLst>
              <a:ext uri="{FF2B5EF4-FFF2-40B4-BE49-F238E27FC236}">
                <a16:creationId xmlns:a16="http://schemas.microsoft.com/office/drawing/2014/main" id="{35A1DC5D-A086-4A9E-92AE-14377676C92B}"/>
              </a:ext>
            </a:extLst>
          </p:cNvPr>
          <p:cNvGrpSpPr/>
          <p:nvPr/>
        </p:nvGrpSpPr>
        <p:grpSpPr>
          <a:xfrm>
            <a:off x="582322" y="1120523"/>
            <a:ext cx="3657600" cy="1835539"/>
            <a:chOff x="674599" y="2471685"/>
            <a:chExt cx="3657600" cy="1835539"/>
          </a:xfrm>
        </p:grpSpPr>
        <p:sp>
          <p:nvSpPr>
            <p:cNvPr id="4" name="TextBox 3">
              <a:extLst>
                <a:ext uri="{FF2B5EF4-FFF2-40B4-BE49-F238E27FC236}">
                  <a16:creationId xmlns:a16="http://schemas.microsoft.com/office/drawing/2014/main" id="{25322B8B-0609-462A-93FD-59659ED736BE}"/>
                </a:ext>
              </a:extLst>
            </p:cNvPr>
            <p:cNvSpPr txBox="1"/>
            <p:nvPr/>
          </p:nvSpPr>
          <p:spPr>
            <a:xfrm>
              <a:off x="674599" y="2471685"/>
              <a:ext cx="3657600" cy="292388"/>
            </a:xfrm>
            <a:prstGeom prst="rect">
              <a:avLst/>
            </a:prstGeom>
            <a:noFill/>
          </p:spPr>
          <p:txBody>
            <a:bodyPr wrap="square" lIns="0" rIns="0" rtlCol="0">
              <a:spAutoFit/>
            </a:bodyPr>
            <a:lstStyle/>
            <a:p>
              <a:r>
                <a:rPr lang="en-US" sz="1300" b="1" dirty="0"/>
                <a:t>Opportunity Drivers</a:t>
              </a:r>
            </a:p>
          </p:txBody>
        </p:sp>
        <p:cxnSp>
          <p:nvCxnSpPr>
            <p:cNvPr id="14" name="Straight Connector 13">
              <a:extLst>
                <a:ext uri="{FF2B5EF4-FFF2-40B4-BE49-F238E27FC236}">
                  <a16:creationId xmlns:a16="http://schemas.microsoft.com/office/drawing/2014/main" id="{5CEC7108-9A6A-42AF-A682-0C0799E5B720}"/>
                </a:ext>
              </a:extLst>
            </p:cNvPr>
            <p:cNvCxnSpPr/>
            <p:nvPr/>
          </p:nvCxnSpPr>
          <p:spPr>
            <a:xfrm>
              <a:off x="674599" y="2764073"/>
              <a:ext cx="3657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6803C08-75C0-44C2-9ABD-434C9D4DB462}"/>
                </a:ext>
              </a:extLst>
            </p:cNvPr>
            <p:cNvSpPr txBox="1"/>
            <p:nvPr/>
          </p:nvSpPr>
          <p:spPr>
            <a:xfrm>
              <a:off x="674599" y="2758082"/>
              <a:ext cx="3657600" cy="1549142"/>
            </a:xfrm>
            <a:prstGeom prst="rect">
              <a:avLst/>
            </a:prstGeom>
            <a:noFill/>
          </p:spPr>
          <p:txBody>
            <a:bodyPr wrap="square" lIns="0" rIns="0" rtlCol="0">
              <a:spAutoFit/>
            </a:bodyPr>
            <a:lstStyle/>
            <a:p>
              <a:pPr marL="171450" indent="-171450">
                <a:spcBef>
                  <a:spcPts val="400"/>
                </a:spcBef>
                <a:buFont typeface="Arial" panose="020B0604020202020204" pitchFamily="34" charset="0"/>
                <a:buChar char="•"/>
              </a:pPr>
              <a:r>
                <a:rPr lang="en-US" sz="1100" dirty="0"/>
                <a:t>Growth in biologic development and reformulation of intravenous drugs is driving self-administered injections</a:t>
              </a:r>
            </a:p>
            <a:p>
              <a:pPr marL="171450" indent="-171450">
                <a:spcBef>
                  <a:spcPts val="400"/>
                </a:spcBef>
                <a:buFont typeface="Arial" panose="020B0604020202020204" pitchFamily="34" charset="0"/>
                <a:buChar char="•"/>
              </a:pPr>
              <a:r>
                <a:rPr lang="en-US" sz="1100" dirty="0"/>
                <a:t>Injection pumps enable higher volume and more frequent dosing – necessary for higher-viscosity formulations – through the use of larger capacity, prefilled cartridges</a:t>
              </a:r>
            </a:p>
            <a:p>
              <a:pPr marL="171450" indent="-171450">
                <a:spcBef>
                  <a:spcPts val="400"/>
                </a:spcBef>
                <a:buFont typeface="Arial" panose="020B0604020202020204" pitchFamily="34" charset="0"/>
                <a:buChar char="•"/>
              </a:pPr>
              <a:r>
                <a:rPr lang="en-US" sz="1100" dirty="0"/>
                <a:t>Patient adherence to treatment plans – which can increase with wearable pumps – further benefits from comfortable, lighter-weight, easier-to-use, and discreet devices</a:t>
              </a:r>
            </a:p>
          </p:txBody>
        </p:sp>
      </p:grpSp>
      <p:sp>
        <p:nvSpPr>
          <p:cNvPr id="9" name="TextBox 8">
            <a:extLst>
              <a:ext uri="{FF2B5EF4-FFF2-40B4-BE49-F238E27FC236}">
                <a16:creationId xmlns:a16="http://schemas.microsoft.com/office/drawing/2014/main" id="{EE196292-2DD2-4D54-A341-605D71EED83A}"/>
              </a:ext>
            </a:extLst>
          </p:cNvPr>
          <p:cNvSpPr txBox="1"/>
          <p:nvPr/>
        </p:nvSpPr>
        <p:spPr>
          <a:xfrm>
            <a:off x="4684393" y="979617"/>
            <a:ext cx="4069080" cy="292388"/>
          </a:xfrm>
          <a:prstGeom prst="rect">
            <a:avLst/>
          </a:prstGeom>
          <a:noFill/>
        </p:spPr>
        <p:txBody>
          <a:bodyPr wrap="square" lIns="0" rIns="0" rtlCol="0">
            <a:spAutoFit/>
          </a:bodyPr>
          <a:lstStyle/>
          <a:p>
            <a:r>
              <a:rPr lang="en-US" sz="1300" b="1" i="1" dirty="0"/>
              <a:t>Internal Chassis </a:t>
            </a:r>
            <a:r>
              <a:rPr lang="en-US" sz="1300" b="1" dirty="0"/>
              <a:t>Material Requirements</a:t>
            </a:r>
          </a:p>
        </p:txBody>
      </p:sp>
      <p:cxnSp>
        <p:nvCxnSpPr>
          <p:cNvPr id="17" name="Straight Connector 16">
            <a:extLst>
              <a:ext uri="{FF2B5EF4-FFF2-40B4-BE49-F238E27FC236}">
                <a16:creationId xmlns:a16="http://schemas.microsoft.com/office/drawing/2014/main" id="{2A56D13C-073F-4C3F-A0F3-EDB6F3756F2B}"/>
              </a:ext>
            </a:extLst>
          </p:cNvPr>
          <p:cNvCxnSpPr/>
          <p:nvPr/>
        </p:nvCxnSpPr>
        <p:spPr>
          <a:xfrm>
            <a:off x="4684393" y="1272005"/>
            <a:ext cx="40690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4CD2BF2-FF8B-4509-9D7D-2D7B04EDD108}"/>
              </a:ext>
            </a:extLst>
          </p:cNvPr>
          <p:cNvSpPr txBox="1"/>
          <p:nvPr/>
        </p:nvSpPr>
        <p:spPr>
          <a:xfrm>
            <a:off x="4684393" y="1272005"/>
            <a:ext cx="4069080" cy="977191"/>
          </a:xfrm>
          <a:prstGeom prst="rect">
            <a:avLst/>
          </a:prstGeom>
          <a:noFill/>
        </p:spPr>
        <p:txBody>
          <a:bodyPr wrap="square" lIns="0" rIns="0" rtlCol="0">
            <a:spAutoFit/>
          </a:bodyPr>
          <a:lstStyle/>
          <a:p>
            <a:pPr marL="171450" indent="-171450">
              <a:spcBef>
                <a:spcPts val="300"/>
              </a:spcBef>
              <a:buFont typeface="Arial" panose="020B0604020202020204" pitchFamily="34" charset="0"/>
              <a:buChar char="•"/>
            </a:pPr>
            <a:r>
              <a:rPr lang="en-US" sz="1100" i="1" dirty="0"/>
              <a:t>Excellent mechanical performance </a:t>
            </a:r>
            <a:r>
              <a:rPr lang="en-US" sz="1100" dirty="0"/>
              <a:t>– high stiffness, tight tolerances, dimensional stability, and thinner wall capability to free internal space for integrated electronics and internal  components</a:t>
            </a:r>
          </a:p>
          <a:p>
            <a:pPr marL="171450" indent="-171450">
              <a:spcBef>
                <a:spcPts val="300"/>
              </a:spcBef>
              <a:buFont typeface="Arial" panose="020B0604020202020204" pitchFamily="34" charset="0"/>
              <a:buChar char="•"/>
            </a:pPr>
            <a:r>
              <a:rPr lang="en-US" sz="1100" i="1" dirty="0"/>
              <a:t>Managing processing costs</a:t>
            </a:r>
            <a:r>
              <a:rPr lang="en-US" sz="1100" dirty="0"/>
              <a:t> – scalability through higher flow to fill higher cavity molds and reduce production cycle times </a:t>
            </a:r>
            <a:endParaRPr lang="en-US" sz="1100" i="1" dirty="0"/>
          </a:p>
        </p:txBody>
      </p:sp>
      <p:sp>
        <p:nvSpPr>
          <p:cNvPr id="15" name="TextBox 14">
            <a:extLst>
              <a:ext uri="{FF2B5EF4-FFF2-40B4-BE49-F238E27FC236}">
                <a16:creationId xmlns:a16="http://schemas.microsoft.com/office/drawing/2014/main" id="{77D136D8-0923-44B5-B78F-19762C323319}"/>
              </a:ext>
            </a:extLst>
          </p:cNvPr>
          <p:cNvSpPr txBox="1"/>
          <p:nvPr/>
        </p:nvSpPr>
        <p:spPr>
          <a:xfrm>
            <a:off x="390526" y="3486909"/>
            <a:ext cx="2353150" cy="1000274"/>
          </a:xfrm>
          <a:prstGeom prst="rect">
            <a:avLst/>
          </a:prstGeom>
          <a:noFill/>
        </p:spPr>
        <p:txBody>
          <a:bodyPr wrap="square" rtlCol="0">
            <a:spAutoFit/>
          </a:bodyPr>
          <a:lstStyle/>
          <a:p>
            <a:pPr algn="ctr"/>
            <a:r>
              <a:rPr lang="en-US" sz="1400" b="1" dirty="0"/>
              <a:t>Internal Chassis</a:t>
            </a:r>
          </a:p>
          <a:p>
            <a:pPr algn="ctr"/>
            <a:r>
              <a:rPr lang="en-US" sz="1200" dirty="0"/>
              <a:t>Vectra® MT® LCP</a:t>
            </a:r>
            <a:br>
              <a:rPr lang="en-US" sz="1200" dirty="0"/>
            </a:br>
            <a:r>
              <a:rPr lang="en-US" sz="1100" i="1" dirty="0"/>
              <a:t>Enables thinner wall designs with higher dimensional stability, stiffness and higher flow for faster production</a:t>
            </a:r>
          </a:p>
        </p:txBody>
      </p:sp>
      <p:sp>
        <p:nvSpPr>
          <p:cNvPr id="23" name="TextBox 22">
            <a:extLst>
              <a:ext uri="{FF2B5EF4-FFF2-40B4-BE49-F238E27FC236}">
                <a16:creationId xmlns:a16="http://schemas.microsoft.com/office/drawing/2014/main" id="{87608FF2-1B21-4903-B5D3-A485E949F185}"/>
              </a:ext>
            </a:extLst>
          </p:cNvPr>
          <p:cNvSpPr txBox="1"/>
          <p:nvPr/>
        </p:nvSpPr>
        <p:spPr>
          <a:xfrm>
            <a:off x="6046625" y="3571548"/>
            <a:ext cx="2706849" cy="1015663"/>
          </a:xfrm>
          <a:prstGeom prst="rect">
            <a:avLst/>
          </a:prstGeom>
          <a:noFill/>
        </p:spPr>
        <p:txBody>
          <a:bodyPr wrap="square" rtlCol="0">
            <a:spAutoFit/>
          </a:bodyPr>
          <a:lstStyle/>
          <a:p>
            <a:pPr algn="ctr"/>
            <a:r>
              <a:rPr lang="en-US" sz="1400" b="1" dirty="0"/>
              <a:t>Gears, Bearings, &amp; Sliding Parts</a:t>
            </a:r>
          </a:p>
          <a:p>
            <a:pPr algn="ctr"/>
            <a:r>
              <a:rPr lang="en-US" sz="1200" dirty="0"/>
              <a:t>Hostaform® MT® </a:t>
            </a:r>
            <a:r>
              <a:rPr lang="en-US" sz="1200" dirty="0" err="1"/>
              <a:t>SlideX</a:t>
            </a:r>
            <a:r>
              <a:rPr lang="en-US" sz="1200" dirty="0"/>
              <a:t>® POM</a:t>
            </a:r>
          </a:p>
          <a:p>
            <a:pPr algn="ctr"/>
            <a:r>
              <a:rPr lang="en-US" sz="1200" dirty="0" err="1"/>
              <a:t>Celanex</a:t>
            </a:r>
            <a:r>
              <a:rPr lang="en-US" sz="1200" dirty="0"/>
              <a:t>® MT® </a:t>
            </a:r>
            <a:r>
              <a:rPr lang="en-US" sz="1200" dirty="0" err="1"/>
              <a:t>SlideX</a:t>
            </a:r>
            <a:r>
              <a:rPr lang="en-US" sz="1200" dirty="0"/>
              <a:t>® PBT</a:t>
            </a:r>
            <a:br>
              <a:rPr lang="en-US" sz="1200" dirty="0"/>
            </a:br>
            <a:r>
              <a:rPr lang="en-US" sz="1100" i="1" dirty="0"/>
              <a:t>Enables precision mechanical components with low friction &amp; wear and no noise</a:t>
            </a:r>
          </a:p>
        </p:txBody>
      </p:sp>
      <p:sp>
        <p:nvSpPr>
          <p:cNvPr id="33" name="TextBox 32">
            <a:extLst>
              <a:ext uri="{FF2B5EF4-FFF2-40B4-BE49-F238E27FC236}">
                <a16:creationId xmlns:a16="http://schemas.microsoft.com/office/drawing/2014/main" id="{119DB298-4851-4DC5-85EE-AD93A5BEFF34}"/>
              </a:ext>
            </a:extLst>
          </p:cNvPr>
          <p:cNvSpPr txBox="1"/>
          <p:nvPr/>
        </p:nvSpPr>
        <p:spPr>
          <a:xfrm>
            <a:off x="4684394" y="2193326"/>
            <a:ext cx="4069080" cy="292388"/>
          </a:xfrm>
          <a:prstGeom prst="rect">
            <a:avLst/>
          </a:prstGeom>
          <a:noFill/>
        </p:spPr>
        <p:txBody>
          <a:bodyPr wrap="square" lIns="0" rIns="0" rtlCol="0">
            <a:spAutoFit/>
          </a:bodyPr>
          <a:lstStyle/>
          <a:p>
            <a:r>
              <a:rPr lang="en-US" sz="1300" b="1" i="1" dirty="0"/>
              <a:t>Gears, Bearings, &amp; Sliding Parts </a:t>
            </a:r>
            <a:r>
              <a:rPr lang="en-US" sz="1300" b="1" dirty="0"/>
              <a:t>Material Requirements</a:t>
            </a:r>
          </a:p>
        </p:txBody>
      </p:sp>
      <p:cxnSp>
        <p:nvCxnSpPr>
          <p:cNvPr id="34" name="Straight Connector 33">
            <a:extLst>
              <a:ext uri="{FF2B5EF4-FFF2-40B4-BE49-F238E27FC236}">
                <a16:creationId xmlns:a16="http://schemas.microsoft.com/office/drawing/2014/main" id="{36B97C78-1FBA-423A-9D85-6FFB041C6CC5}"/>
              </a:ext>
            </a:extLst>
          </p:cNvPr>
          <p:cNvCxnSpPr/>
          <p:nvPr/>
        </p:nvCxnSpPr>
        <p:spPr>
          <a:xfrm>
            <a:off x="4684394" y="2485714"/>
            <a:ext cx="40690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E40691B-7367-4600-A39A-94058430A9DB}"/>
              </a:ext>
            </a:extLst>
          </p:cNvPr>
          <p:cNvSpPr txBox="1"/>
          <p:nvPr/>
        </p:nvSpPr>
        <p:spPr>
          <a:xfrm>
            <a:off x="4684393" y="2496806"/>
            <a:ext cx="4069080" cy="600164"/>
          </a:xfrm>
          <a:prstGeom prst="rect">
            <a:avLst/>
          </a:prstGeom>
          <a:noFill/>
        </p:spPr>
        <p:txBody>
          <a:bodyPr wrap="square" lIns="0" rIns="0" rtlCol="0">
            <a:spAutoFit/>
          </a:bodyPr>
          <a:lstStyle/>
          <a:p>
            <a:pPr marL="171450" indent="-171450">
              <a:spcBef>
                <a:spcPts val="300"/>
              </a:spcBef>
              <a:buFont typeface="Arial" panose="020B0604020202020204" pitchFamily="34" charset="0"/>
              <a:buChar char="•"/>
            </a:pPr>
            <a:r>
              <a:rPr lang="en-US" sz="1100" i="1" dirty="0"/>
              <a:t>Excellent tribological and mechanical performance </a:t>
            </a:r>
            <a:r>
              <a:rPr lang="en-US" sz="1100" dirty="0"/>
              <a:t>– low friction &amp; wear, no noise, high strength/modulus, fatigue &amp; creep resistance, and dimensional stability</a:t>
            </a:r>
          </a:p>
        </p:txBody>
      </p:sp>
      <p:pic>
        <p:nvPicPr>
          <p:cNvPr id="10" name="Picture 9">
            <a:extLst>
              <a:ext uri="{FF2B5EF4-FFF2-40B4-BE49-F238E27FC236}">
                <a16:creationId xmlns:a16="http://schemas.microsoft.com/office/drawing/2014/main" id="{5F583CB5-706A-438F-ACC4-43B381898CF4}"/>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131821" y="3415546"/>
            <a:ext cx="1514385" cy="1143000"/>
          </a:xfrm>
          <a:prstGeom prst="rect">
            <a:avLst/>
          </a:prstGeom>
        </p:spPr>
      </p:pic>
      <p:cxnSp>
        <p:nvCxnSpPr>
          <p:cNvPr id="8" name="Straight Connector 7">
            <a:extLst>
              <a:ext uri="{FF2B5EF4-FFF2-40B4-BE49-F238E27FC236}">
                <a16:creationId xmlns:a16="http://schemas.microsoft.com/office/drawing/2014/main" id="{228EA2B4-CE24-449B-9D64-F95923670197}"/>
              </a:ext>
            </a:extLst>
          </p:cNvPr>
          <p:cNvCxnSpPr>
            <a:cxnSpLocks/>
            <a:endCxn id="15" idx="3"/>
          </p:cNvCxnSpPr>
          <p:nvPr/>
        </p:nvCxnSpPr>
        <p:spPr>
          <a:xfrm flipH="1" flipV="1">
            <a:off x="2743676" y="3987046"/>
            <a:ext cx="632570" cy="135366"/>
          </a:xfrm>
          <a:prstGeom prst="line">
            <a:avLst/>
          </a:prstGeom>
          <a:ln w="28575">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7CD81F64-8705-48A7-B6DD-B8E820BADDD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554728" y="3415546"/>
            <a:ext cx="1320293" cy="1143000"/>
          </a:xfrm>
          <a:prstGeom prst="rect">
            <a:avLst/>
          </a:prstGeom>
        </p:spPr>
      </p:pic>
      <p:cxnSp>
        <p:nvCxnSpPr>
          <p:cNvPr id="21" name="Straight Connector 20">
            <a:extLst>
              <a:ext uri="{FF2B5EF4-FFF2-40B4-BE49-F238E27FC236}">
                <a16:creationId xmlns:a16="http://schemas.microsoft.com/office/drawing/2014/main" id="{79D33AAA-E641-4AEA-B5DC-3AEFF43DEFA3}"/>
              </a:ext>
            </a:extLst>
          </p:cNvPr>
          <p:cNvCxnSpPr>
            <a:cxnSpLocks/>
            <a:endCxn id="23" idx="1"/>
          </p:cNvCxnSpPr>
          <p:nvPr/>
        </p:nvCxnSpPr>
        <p:spPr>
          <a:xfrm>
            <a:off x="5458265" y="4072597"/>
            <a:ext cx="588360" cy="6783"/>
          </a:xfrm>
          <a:prstGeom prst="line">
            <a:avLst/>
          </a:prstGeom>
          <a:ln w="28575">
            <a:solidFill>
              <a:schemeClr val="accent3">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04AA5C4-F80E-49D0-81D9-52D7C38C115A}"/>
              </a:ext>
            </a:extLst>
          </p:cNvPr>
          <p:cNvCxnSpPr/>
          <p:nvPr/>
        </p:nvCxnSpPr>
        <p:spPr>
          <a:xfrm>
            <a:off x="4554728" y="3415546"/>
            <a:ext cx="0" cy="1143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AFA24C8E-13F6-4B99-9B90-02A750F4604C}"/>
              </a:ext>
            </a:extLst>
          </p:cNvPr>
          <p:cNvSpPr/>
          <p:nvPr/>
        </p:nvSpPr>
        <p:spPr>
          <a:xfrm>
            <a:off x="3131821" y="3415546"/>
            <a:ext cx="2743200" cy="1143000"/>
          </a:xfrm>
          <a:prstGeom prst="rect">
            <a:avLst/>
          </a:prstGeom>
          <a:noFill/>
          <a:ln w="127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ooter Placeholder 38">
            <a:extLst>
              <a:ext uri="{FF2B5EF4-FFF2-40B4-BE49-F238E27FC236}">
                <a16:creationId xmlns:a16="http://schemas.microsoft.com/office/drawing/2014/main" id="{3005D74F-88ED-42FA-A6A7-F2788778F0C5}"/>
              </a:ext>
            </a:extLst>
          </p:cNvPr>
          <p:cNvSpPr txBox="1">
            <a:spLocks/>
          </p:cNvSpPr>
          <p:nvPr/>
        </p:nvSpPr>
        <p:spPr>
          <a:xfrm>
            <a:off x="390527" y="4767265"/>
            <a:ext cx="752473" cy="273844"/>
          </a:xfrm>
          <a:prstGeom prst="rect">
            <a:avLst/>
          </a:prstGeom>
        </p:spPr>
        <p:txBody>
          <a:bodyPr vert="horz" lIns="0" tIns="0" rIns="0" bIns="0" rtlCol="0" anchor="ctr"/>
          <a:lstStyle>
            <a:defPPr>
              <a:defRPr lang="de-DE"/>
            </a:defPPr>
            <a:lvl1pPr marL="0" algn="r" defTabSz="914400" rtl="0" eaLnBrk="1" latinLnBrk="0" hangingPunct="1">
              <a:defRPr sz="1000" kern="1200">
                <a:solidFill>
                  <a:srgbClr val="4D4D4D"/>
                </a:solidFill>
                <a:latin typeface="+mn-lt"/>
                <a:ea typeface="+mn-ea"/>
                <a:cs typeface="Calibri"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685800">
              <a:defRPr/>
            </a:pPr>
            <a:r>
              <a:rPr lang="en-US" sz="750">
                <a:latin typeface="Calibri"/>
                <a:cs typeface="+mn-cs"/>
              </a:rPr>
              <a:t>External </a:t>
            </a:r>
            <a:endParaRPr lang="en-US" sz="750" dirty="0">
              <a:latin typeface="Calibri"/>
              <a:cs typeface="+mn-cs"/>
            </a:endParaRPr>
          </a:p>
        </p:txBody>
      </p:sp>
    </p:spTree>
    <p:extLst>
      <p:ext uri="{BB962C8B-B14F-4D97-AF65-F5344CB8AC3E}">
        <p14:creationId xmlns:p14="http://schemas.microsoft.com/office/powerpoint/2010/main" val="4337491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5BD1C837-4165-4506-BBBD-6786F5BFC9CF}"/>
              </a:ext>
            </a:extLst>
          </p:cNvPr>
          <p:cNvSpPr/>
          <p:nvPr/>
        </p:nvSpPr>
        <p:spPr>
          <a:xfrm>
            <a:off x="3535020" y="896952"/>
            <a:ext cx="2057400" cy="3429000"/>
          </a:xfrm>
          <a:prstGeom prst="rect">
            <a:avLst/>
          </a:pr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350" dirty="0">
              <a:solidFill>
                <a:prstClr val="white"/>
              </a:solidFill>
              <a:latin typeface="Calibri"/>
            </a:endParaRPr>
          </a:p>
        </p:txBody>
      </p:sp>
      <p:sp>
        <p:nvSpPr>
          <p:cNvPr id="34" name="Arrow: Right 33">
            <a:extLst>
              <a:ext uri="{FF2B5EF4-FFF2-40B4-BE49-F238E27FC236}">
                <a16:creationId xmlns:a16="http://schemas.microsoft.com/office/drawing/2014/main" id="{EE2B4841-A4DC-48D3-8903-2EC5C028CB81}"/>
              </a:ext>
            </a:extLst>
          </p:cNvPr>
          <p:cNvSpPr/>
          <p:nvPr/>
        </p:nvSpPr>
        <p:spPr>
          <a:xfrm>
            <a:off x="3275284" y="1857252"/>
            <a:ext cx="502920" cy="807054"/>
          </a:xfrm>
          <a:prstGeom prst="rightArrow">
            <a:avLst>
              <a:gd name="adj1" fmla="val 50000"/>
              <a:gd name="adj2" fmla="val 32680"/>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lin ang="108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66"/>
            <a:endParaRPr lang="en-US" sz="1350" dirty="0">
              <a:solidFill>
                <a:prstClr val="white"/>
              </a:solidFill>
              <a:latin typeface="Calibri"/>
            </a:endParaRPr>
          </a:p>
        </p:txBody>
      </p:sp>
      <p:sp>
        <p:nvSpPr>
          <p:cNvPr id="9" name="Rectangle 8">
            <a:extLst>
              <a:ext uri="{FF2B5EF4-FFF2-40B4-BE49-F238E27FC236}">
                <a16:creationId xmlns:a16="http://schemas.microsoft.com/office/drawing/2014/main" id="{947F1EB6-6310-4608-ACA9-27FF38693E12}"/>
              </a:ext>
            </a:extLst>
          </p:cNvPr>
          <p:cNvSpPr/>
          <p:nvPr/>
        </p:nvSpPr>
        <p:spPr>
          <a:xfrm>
            <a:off x="381000" y="896952"/>
            <a:ext cx="2983230" cy="3429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350" dirty="0">
              <a:solidFill>
                <a:prstClr val="white"/>
              </a:solidFill>
              <a:latin typeface="Calibri"/>
            </a:endParaRPr>
          </a:p>
        </p:txBody>
      </p:sp>
      <p:sp>
        <p:nvSpPr>
          <p:cNvPr id="29" name="object 2">
            <a:extLst>
              <a:ext uri="{FF2B5EF4-FFF2-40B4-BE49-F238E27FC236}">
                <a16:creationId xmlns:a16="http://schemas.microsoft.com/office/drawing/2014/main" id="{DD2EEEDE-636C-49B7-AB01-0D31BE5723B1}"/>
              </a:ext>
            </a:extLst>
          </p:cNvPr>
          <p:cNvSpPr txBox="1"/>
          <p:nvPr/>
        </p:nvSpPr>
        <p:spPr>
          <a:xfrm flipH="1">
            <a:off x="3704183" y="999677"/>
            <a:ext cx="1719072" cy="242154"/>
          </a:xfrm>
          <a:prstGeom prst="round1Rect">
            <a:avLst>
              <a:gd name="adj" fmla="val 50000"/>
            </a:avLst>
          </a:prstGeom>
          <a:solidFill>
            <a:schemeClr val="accent3"/>
          </a:solidFill>
          <a:ln w="9525">
            <a:solidFill>
              <a:schemeClr val="bg1"/>
            </a:solidFill>
          </a:ln>
        </p:spPr>
        <p:txBody>
          <a:bodyPr vert="horz" wrap="square" lIns="45720" tIns="45720" rIns="45720" bIns="45720" rtlCol="0" anchor="ctr">
            <a:noAutofit/>
          </a:bodyPr>
          <a:lstStyle/>
          <a:p>
            <a:pPr algn="ctr" defTabSz="685766">
              <a:spcBef>
                <a:spcPts val="425"/>
              </a:spcBef>
            </a:pPr>
            <a:r>
              <a:rPr lang="en-US" sz="1400" b="1" cap="small" spc="-25" dirty="0">
                <a:solidFill>
                  <a:prstClr val="white"/>
                </a:solidFill>
                <a:latin typeface="Calibri"/>
                <a:cs typeface="Trebuchet MS"/>
              </a:rPr>
              <a:t>Customer Value</a:t>
            </a:r>
            <a:endParaRPr sz="1400" b="1" cap="small" dirty="0">
              <a:solidFill>
                <a:prstClr val="white"/>
              </a:solidFill>
              <a:latin typeface="Calibri"/>
              <a:cs typeface="Trebuchet MS"/>
            </a:endParaRPr>
          </a:p>
        </p:txBody>
      </p:sp>
      <p:sp>
        <p:nvSpPr>
          <p:cNvPr id="31" name="Arrow: Right 30">
            <a:extLst>
              <a:ext uri="{FF2B5EF4-FFF2-40B4-BE49-F238E27FC236}">
                <a16:creationId xmlns:a16="http://schemas.microsoft.com/office/drawing/2014/main" id="{DD83C969-202A-4A3D-8656-1E44CB7F060B}"/>
              </a:ext>
            </a:extLst>
          </p:cNvPr>
          <p:cNvSpPr/>
          <p:nvPr/>
        </p:nvSpPr>
        <p:spPr>
          <a:xfrm rot="10800000">
            <a:off x="5338219" y="1857252"/>
            <a:ext cx="502920" cy="807054"/>
          </a:xfrm>
          <a:prstGeom prst="rightArrow">
            <a:avLst>
              <a:gd name="adj1" fmla="val 50000"/>
              <a:gd name="adj2" fmla="val 32680"/>
            </a:avLst>
          </a:prstGeom>
          <a:gradFill flip="none" rotWithShape="1">
            <a:gsLst>
              <a:gs pos="0">
                <a:schemeClr val="accent3">
                  <a:tint val="66000"/>
                  <a:satMod val="160000"/>
                </a:schemeClr>
              </a:gs>
              <a:gs pos="50000">
                <a:schemeClr val="accent3">
                  <a:tint val="44500"/>
                  <a:satMod val="160000"/>
                </a:schemeClr>
              </a:gs>
              <a:gs pos="100000">
                <a:schemeClr val="accent3">
                  <a:tint val="23500"/>
                  <a:satMod val="160000"/>
                </a:schemeClr>
              </a:gs>
            </a:gsLst>
            <a:lin ang="108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766"/>
            <a:endParaRPr lang="en-US" sz="1350" dirty="0">
              <a:solidFill>
                <a:prstClr val="white"/>
              </a:solidFill>
              <a:latin typeface="Calibri"/>
            </a:endParaRPr>
          </a:p>
        </p:txBody>
      </p:sp>
      <p:sp>
        <p:nvSpPr>
          <p:cNvPr id="13" name="Text Placeholder 12">
            <a:extLst>
              <a:ext uri="{FF2B5EF4-FFF2-40B4-BE49-F238E27FC236}">
                <a16:creationId xmlns:a16="http://schemas.microsoft.com/office/drawing/2014/main" id="{8EB5194C-A7EF-4EFF-872E-D27638B68C27}"/>
              </a:ext>
            </a:extLst>
          </p:cNvPr>
          <p:cNvSpPr>
            <a:spLocks noGrp="1"/>
          </p:cNvSpPr>
          <p:nvPr>
            <p:ph type="body" sz="quarter" idx="14"/>
          </p:nvPr>
        </p:nvSpPr>
        <p:spPr>
          <a:xfrm>
            <a:off x="390527" y="4427208"/>
            <a:ext cx="8372475" cy="278490"/>
          </a:xfrm>
          <a:solidFill>
            <a:schemeClr val="accent3"/>
          </a:solidFill>
        </p:spPr>
        <p:txBody>
          <a:bodyPr/>
          <a:lstStyle/>
          <a:p>
            <a:r>
              <a:rPr lang="en-US" sz="1100" cap="all" dirty="0">
                <a:solidFill>
                  <a:schemeClr val="bg1"/>
                </a:solidFill>
              </a:rPr>
              <a:t>higher flow AND CAE INSIGHTS ENABLED thinner wall DESIGN FOR IMPROVED END-USER EXPERIENCE AND REDUCED PER PART COST</a:t>
            </a:r>
          </a:p>
        </p:txBody>
      </p:sp>
      <p:sp>
        <p:nvSpPr>
          <p:cNvPr id="39" name="Title 3">
            <a:extLst>
              <a:ext uri="{FF2B5EF4-FFF2-40B4-BE49-F238E27FC236}">
                <a16:creationId xmlns:a16="http://schemas.microsoft.com/office/drawing/2014/main" id="{EF66268B-4635-41FE-B80A-73A6EF07C008}"/>
              </a:ext>
            </a:extLst>
          </p:cNvPr>
          <p:cNvSpPr txBox="1">
            <a:spLocks/>
          </p:cNvSpPr>
          <p:nvPr/>
        </p:nvSpPr>
        <p:spPr>
          <a:xfrm>
            <a:off x="381000" y="20639"/>
            <a:ext cx="6553200" cy="171450"/>
          </a:xfrm>
          <a:prstGeom prst="rect">
            <a:avLst/>
          </a:prstGeom>
        </p:spPr>
        <p:txBody>
          <a:bodyPr vert="horz" lIns="0" tIns="0" rIns="0" bIns="0" rtlCol="0" anchor="ctr">
            <a:noAutofit/>
          </a:bodyPr>
          <a:lstStyle>
            <a:lvl1pPr algn="l" defTabSz="914400" rtl="0" eaLnBrk="1" latinLnBrk="0" hangingPunct="1">
              <a:spcBef>
                <a:spcPct val="0"/>
              </a:spcBef>
              <a:buNone/>
              <a:defRPr sz="2000" b="0" kern="1200">
                <a:solidFill>
                  <a:srgbClr val="4D4D4D"/>
                </a:solidFill>
                <a:latin typeface="+mj-lt"/>
                <a:ea typeface="+mj-ea"/>
                <a:cs typeface="+mj-cs"/>
              </a:defRPr>
            </a:lvl1pPr>
          </a:lstStyle>
          <a:p>
            <a:pPr defTabSz="685766"/>
            <a:r>
              <a:rPr lang="en-US" sz="1200" b="1" dirty="0">
                <a:solidFill>
                  <a:prstClr val="white">
                    <a:lumMod val="65000"/>
                  </a:prstClr>
                </a:solidFill>
                <a:latin typeface="Calibri"/>
              </a:rPr>
              <a:t>CASE STUDY</a:t>
            </a:r>
          </a:p>
        </p:txBody>
      </p:sp>
      <p:sp>
        <p:nvSpPr>
          <p:cNvPr id="54" name="Rectangle 53">
            <a:extLst>
              <a:ext uri="{FF2B5EF4-FFF2-40B4-BE49-F238E27FC236}">
                <a16:creationId xmlns:a16="http://schemas.microsoft.com/office/drawing/2014/main" id="{C2EC873E-EBC8-47B2-9004-EF22D8654C9C}"/>
              </a:ext>
            </a:extLst>
          </p:cNvPr>
          <p:cNvSpPr/>
          <p:nvPr/>
        </p:nvSpPr>
        <p:spPr>
          <a:xfrm>
            <a:off x="5763209" y="896952"/>
            <a:ext cx="2983230" cy="3429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1350" dirty="0">
              <a:solidFill>
                <a:prstClr val="white"/>
              </a:solidFill>
              <a:latin typeface="Calibri"/>
            </a:endParaRPr>
          </a:p>
        </p:txBody>
      </p:sp>
      <p:sp>
        <p:nvSpPr>
          <p:cNvPr id="41" name="object 2">
            <a:extLst>
              <a:ext uri="{FF2B5EF4-FFF2-40B4-BE49-F238E27FC236}">
                <a16:creationId xmlns:a16="http://schemas.microsoft.com/office/drawing/2014/main" id="{703BCAA5-A4FB-484A-B1A4-765257BE1EC0}"/>
              </a:ext>
            </a:extLst>
          </p:cNvPr>
          <p:cNvSpPr txBox="1"/>
          <p:nvPr/>
        </p:nvSpPr>
        <p:spPr>
          <a:xfrm flipH="1">
            <a:off x="5887032" y="999677"/>
            <a:ext cx="2743200" cy="242154"/>
          </a:xfrm>
          <a:prstGeom prst="round1Rect">
            <a:avLst>
              <a:gd name="adj" fmla="val 50000"/>
            </a:avLst>
          </a:prstGeom>
          <a:solidFill>
            <a:schemeClr val="accent3"/>
          </a:solidFill>
          <a:ln w="9525">
            <a:solidFill>
              <a:schemeClr val="bg1"/>
            </a:solidFill>
          </a:ln>
        </p:spPr>
        <p:txBody>
          <a:bodyPr vert="horz" wrap="square" lIns="45720" tIns="45720" rIns="45720" bIns="45720" rtlCol="0" anchor="ctr">
            <a:noAutofit/>
          </a:bodyPr>
          <a:lstStyle/>
          <a:p>
            <a:pPr algn="ctr" defTabSz="685766">
              <a:spcBef>
                <a:spcPts val="425"/>
              </a:spcBef>
            </a:pPr>
            <a:r>
              <a:rPr lang="en-US" sz="1400" b="1" cap="small" spc="-25" dirty="0">
                <a:solidFill>
                  <a:prstClr val="white"/>
                </a:solidFill>
                <a:latin typeface="Calibri"/>
                <a:cs typeface="Trebuchet MS"/>
              </a:rPr>
              <a:t>Celanese Solution &amp; Capabilities</a:t>
            </a:r>
            <a:endParaRPr sz="1400" b="1" cap="small" dirty="0">
              <a:solidFill>
                <a:prstClr val="white"/>
              </a:solidFill>
              <a:latin typeface="Calibri"/>
              <a:cs typeface="Trebuchet MS"/>
            </a:endParaRPr>
          </a:p>
        </p:txBody>
      </p:sp>
      <p:sp>
        <p:nvSpPr>
          <p:cNvPr id="14" name="object 2">
            <a:extLst>
              <a:ext uri="{FF2B5EF4-FFF2-40B4-BE49-F238E27FC236}">
                <a16:creationId xmlns:a16="http://schemas.microsoft.com/office/drawing/2014/main" id="{65BD6D41-7F8C-4A88-A0C0-8DD679E0603A}"/>
              </a:ext>
            </a:extLst>
          </p:cNvPr>
          <p:cNvSpPr txBox="1"/>
          <p:nvPr/>
        </p:nvSpPr>
        <p:spPr>
          <a:xfrm flipH="1">
            <a:off x="498085" y="999677"/>
            <a:ext cx="2743200" cy="242154"/>
          </a:xfrm>
          <a:prstGeom prst="round1Rect">
            <a:avLst>
              <a:gd name="adj" fmla="val 50000"/>
            </a:avLst>
          </a:prstGeom>
          <a:solidFill>
            <a:schemeClr val="accent3"/>
          </a:solidFill>
          <a:ln w="9525">
            <a:solidFill>
              <a:schemeClr val="bg1"/>
            </a:solidFill>
          </a:ln>
        </p:spPr>
        <p:txBody>
          <a:bodyPr vert="horz" wrap="square" lIns="45720" tIns="45720" rIns="45720" bIns="45720" rtlCol="0" anchor="ctr">
            <a:noAutofit/>
          </a:bodyPr>
          <a:lstStyle/>
          <a:p>
            <a:pPr algn="ctr" defTabSz="685766">
              <a:spcBef>
                <a:spcPts val="425"/>
              </a:spcBef>
            </a:pPr>
            <a:r>
              <a:rPr lang="en-US" sz="1400" b="1" cap="small" spc="-25" dirty="0">
                <a:solidFill>
                  <a:prstClr val="white"/>
                </a:solidFill>
                <a:cs typeface="Trebuchet MS"/>
              </a:rPr>
              <a:t>Customer Challenge</a:t>
            </a:r>
            <a:endParaRPr lang="en-US" sz="1400" b="1" cap="small" dirty="0">
              <a:solidFill>
                <a:prstClr val="white"/>
              </a:solidFill>
              <a:cs typeface="Trebuchet MS"/>
            </a:endParaRPr>
          </a:p>
        </p:txBody>
      </p:sp>
      <p:sp>
        <p:nvSpPr>
          <p:cNvPr id="2" name="Slide Number Placeholder 1">
            <a:extLst>
              <a:ext uri="{FF2B5EF4-FFF2-40B4-BE49-F238E27FC236}">
                <a16:creationId xmlns:a16="http://schemas.microsoft.com/office/drawing/2014/main" id="{8F9C6EC4-F4CB-4851-9CEB-FB9407DC17F0}"/>
              </a:ext>
            </a:extLst>
          </p:cNvPr>
          <p:cNvSpPr>
            <a:spLocks noGrp="1"/>
          </p:cNvSpPr>
          <p:nvPr>
            <p:ph type="sldNum" sz="quarter" idx="16"/>
          </p:nvPr>
        </p:nvSpPr>
        <p:spPr/>
        <p:txBody>
          <a:bodyPr/>
          <a:lstStyle/>
          <a:p>
            <a:fld id="{90223409-09FC-4660-A923-5454ABA2BCF5}" type="slidenum">
              <a:rPr lang="en-US" sz="750" smtClean="0">
                <a:latin typeface="Calibri"/>
              </a:rPr>
              <a:pPr/>
              <a:t>12</a:t>
            </a:fld>
            <a:endParaRPr lang="en-US" sz="750" dirty="0">
              <a:latin typeface="Calibri"/>
            </a:endParaRPr>
          </a:p>
        </p:txBody>
      </p:sp>
      <p:grpSp>
        <p:nvGrpSpPr>
          <p:cNvPr id="35" name="Group 5"/>
          <p:cNvGrpSpPr/>
          <p:nvPr/>
        </p:nvGrpSpPr>
        <p:grpSpPr>
          <a:xfrm>
            <a:off x="391882" y="190085"/>
            <a:ext cx="7200598" cy="592470"/>
            <a:chOff x="520701" y="143686"/>
            <a:chExt cx="10972801" cy="789961"/>
          </a:xfrm>
        </p:grpSpPr>
        <p:sp>
          <p:nvSpPr>
            <p:cNvPr id="36" name="TextBox 36"/>
            <p:cNvSpPr txBox="1"/>
            <p:nvPr/>
          </p:nvSpPr>
          <p:spPr>
            <a:xfrm>
              <a:off x="520701" y="143686"/>
              <a:ext cx="10972799" cy="789961"/>
            </a:xfrm>
            <a:prstGeom prst="rect">
              <a:avLst/>
            </a:prstGeom>
            <a:noFill/>
          </p:spPr>
          <p:txBody>
            <a:bodyPr wrap="square" lIns="0" rtlCol="0">
              <a:spAutoFit/>
            </a:bodyPr>
            <a:lstStyle/>
            <a:p>
              <a:pPr defTabSz="685766"/>
              <a:r>
                <a:rPr lang="en-US" sz="1600" dirty="0"/>
                <a:t>LIGHTER-WEIGHT, INCREASED COMFORT, AND GREATER DESIGN FLEXIBILITY</a:t>
              </a:r>
            </a:p>
            <a:p>
              <a:pPr defTabSz="685766"/>
              <a:endParaRPr lang="en-US" sz="1650" dirty="0">
                <a:latin typeface="Calibri"/>
              </a:endParaRPr>
            </a:p>
          </p:txBody>
        </p:sp>
        <p:sp>
          <p:nvSpPr>
            <p:cNvPr id="38" name="TextBox 37"/>
            <p:cNvSpPr txBox="1"/>
            <p:nvPr/>
          </p:nvSpPr>
          <p:spPr>
            <a:xfrm>
              <a:off x="520703" y="495664"/>
              <a:ext cx="10972799" cy="338555"/>
            </a:xfrm>
            <a:prstGeom prst="rect">
              <a:avLst/>
            </a:prstGeom>
            <a:noFill/>
          </p:spPr>
          <p:txBody>
            <a:bodyPr wrap="square" lIns="0" rtlCol="0">
              <a:spAutoFit/>
            </a:bodyPr>
            <a:lstStyle/>
            <a:p>
              <a:pPr defTabSz="685766"/>
              <a:r>
                <a:rPr lang="en-US" sz="1050" b="1" dirty="0">
                  <a:solidFill>
                    <a:srgbClr val="262626"/>
                  </a:solidFill>
                  <a:latin typeface="Calibri"/>
                </a:rPr>
                <a:t>VECTRA® MT® LCP 1305 LOWERS COST PER PART AND ENABLES IMPROVED DESIGN FOR PATCH PUMP CHASSIS   </a:t>
              </a:r>
            </a:p>
          </p:txBody>
        </p:sp>
      </p:grpSp>
      <p:sp>
        <p:nvSpPr>
          <p:cNvPr id="40" name="TextBox 51"/>
          <p:cNvSpPr txBox="1"/>
          <p:nvPr/>
        </p:nvSpPr>
        <p:spPr>
          <a:xfrm>
            <a:off x="3634550" y="2648564"/>
            <a:ext cx="1858339" cy="1631216"/>
          </a:xfrm>
          <a:prstGeom prst="rect">
            <a:avLst/>
          </a:prstGeom>
          <a:noFill/>
        </p:spPr>
        <p:txBody>
          <a:bodyPr wrap="square" lIns="0" rIns="0" rtlCol="0">
            <a:spAutoFit/>
          </a:bodyPr>
          <a:lstStyle/>
          <a:p>
            <a:pPr marL="128588" indent="-128588">
              <a:spcBef>
                <a:spcPts val="600"/>
              </a:spcBef>
              <a:buFont typeface="Arial" panose="020B0604020202020204" pitchFamily="34" charset="0"/>
              <a:buChar char="•"/>
            </a:pPr>
            <a:r>
              <a:rPr lang="en-US" sz="900" dirty="0"/>
              <a:t>Delivery of up to </a:t>
            </a:r>
            <a:r>
              <a:rPr lang="en-US" sz="900" b="1" dirty="0"/>
              <a:t>50% per part cost savings </a:t>
            </a:r>
            <a:r>
              <a:rPr lang="en-US" sz="900" i="1" dirty="0"/>
              <a:t>versus</a:t>
            </a:r>
            <a:r>
              <a:rPr lang="en-US" sz="900" dirty="0"/>
              <a:t> incumbent material (Polycarbonate)</a:t>
            </a:r>
          </a:p>
          <a:p>
            <a:pPr marL="128588" indent="-128588">
              <a:spcBef>
                <a:spcPts val="600"/>
              </a:spcBef>
              <a:buFont typeface="Arial" panose="020B0604020202020204" pitchFamily="34" charset="0"/>
              <a:buChar char="•"/>
            </a:pPr>
            <a:r>
              <a:rPr lang="en-US" sz="900" dirty="0"/>
              <a:t>Provided greater productivity with </a:t>
            </a:r>
            <a:r>
              <a:rPr lang="en-US" sz="900" b="1" dirty="0"/>
              <a:t>shorter cycle times </a:t>
            </a:r>
            <a:r>
              <a:rPr lang="en-US" sz="900" dirty="0"/>
              <a:t>and </a:t>
            </a:r>
            <a:r>
              <a:rPr lang="en-US" sz="900" b="1" dirty="0"/>
              <a:t>increased multi-cavity tool </a:t>
            </a:r>
            <a:r>
              <a:rPr lang="en-US" sz="900" dirty="0"/>
              <a:t>(4x </a:t>
            </a:r>
            <a:r>
              <a:rPr lang="en-US" sz="900" i="1" dirty="0"/>
              <a:t>versus</a:t>
            </a:r>
            <a:r>
              <a:rPr lang="en-US" sz="900" dirty="0"/>
              <a:t> original)</a:t>
            </a:r>
          </a:p>
          <a:p>
            <a:pPr marL="128588" indent="-128588">
              <a:spcBef>
                <a:spcPts val="600"/>
              </a:spcBef>
              <a:buFont typeface="Arial" panose="020B0604020202020204" pitchFamily="34" charset="0"/>
              <a:buChar char="•"/>
            </a:pPr>
            <a:r>
              <a:rPr lang="en-US" sz="900" dirty="0"/>
              <a:t>Simplified design for </a:t>
            </a:r>
            <a:r>
              <a:rPr lang="en-US" sz="900" b="1" dirty="0"/>
              <a:t>increased flexibility</a:t>
            </a:r>
            <a:r>
              <a:rPr lang="en-US" sz="900" dirty="0"/>
              <a:t> for other components and </a:t>
            </a:r>
            <a:r>
              <a:rPr lang="en-US" sz="900" b="1" dirty="0"/>
              <a:t>eliminated plating step </a:t>
            </a:r>
            <a:r>
              <a:rPr lang="en-US" sz="900" dirty="0"/>
              <a:t>due to inherent flame retardancy</a:t>
            </a:r>
            <a:endParaRPr lang="en-US" sz="900" b="1" dirty="0"/>
          </a:p>
        </p:txBody>
      </p:sp>
      <p:sp>
        <p:nvSpPr>
          <p:cNvPr id="44" name="TextBox 2"/>
          <p:cNvSpPr txBox="1"/>
          <p:nvPr/>
        </p:nvSpPr>
        <p:spPr>
          <a:xfrm>
            <a:off x="452545" y="1330006"/>
            <a:ext cx="2832001" cy="2995946"/>
          </a:xfrm>
          <a:prstGeom prst="rect">
            <a:avLst/>
          </a:prstGeom>
          <a:noFill/>
        </p:spPr>
        <p:txBody>
          <a:bodyPr wrap="square" lIns="91440" tIns="0" rIns="91440" bIns="0" rtlCol="0" anchor="ctr">
            <a:noAutofit/>
          </a:bodyPr>
          <a:lstStyle/>
          <a:p>
            <a:pPr marL="128588" indent="-128588" defTabSz="514337">
              <a:spcAft>
                <a:spcPts val="300"/>
              </a:spcAft>
              <a:buFont typeface="Arial" panose="020B0604020202020204" pitchFamily="34" charset="0"/>
              <a:buChar char="•"/>
              <a:defRPr/>
            </a:pPr>
            <a:r>
              <a:rPr lang="en-US" sz="975" spc="-8" dirty="0"/>
              <a:t>Design a wearable injection pump that allows  patients manage their diabetes —with effective, low maintenance treatment approach</a:t>
            </a:r>
          </a:p>
          <a:p>
            <a:pPr marL="128588" indent="-128588" defTabSz="514337">
              <a:spcAft>
                <a:spcPts val="300"/>
              </a:spcAft>
              <a:buFont typeface="Arial" panose="020B0604020202020204" pitchFamily="34" charset="0"/>
              <a:buChar char="•"/>
              <a:defRPr/>
            </a:pPr>
            <a:r>
              <a:rPr lang="en-US" sz="1000" spc="-8" dirty="0"/>
              <a:t>Deliver material solutions that manage overall device costs – as components are disposable</a:t>
            </a:r>
            <a:endParaRPr lang="en-US" sz="975" spc="-8" dirty="0"/>
          </a:p>
          <a:p>
            <a:pPr marL="128588" indent="-128588" defTabSz="514337">
              <a:spcAft>
                <a:spcPts val="300"/>
              </a:spcAft>
              <a:buFont typeface="Arial" panose="020B0604020202020204" pitchFamily="34" charset="0"/>
              <a:buChar char="•"/>
              <a:defRPr/>
            </a:pPr>
            <a:r>
              <a:rPr lang="en-US" sz="975" spc="-8" dirty="0"/>
              <a:t>Requirements for a lightweight, cost-efficient wearable device:</a:t>
            </a:r>
          </a:p>
          <a:p>
            <a:pPr marL="346075" lvl="1" indent="-173038">
              <a:spcBef>
                <a:spcPts val="600"/>
              </a:spcBef>
              <a:spcAft>
                <a:spcPts val="300"/>
              </a:spcAft>
              <a:buSzPct val="100000"/>
              <a:buFont typeface="Courier New" panose="02070309020205020404" pitchFamily="49" charset="0"/>
              <a:buChar char="o"/>
              <a:defRPr/>
            </a:pPr>
            <a:r>
              <a:rPr lang="en-US" sz="900" dirty="0"/>
              <a:t>Excellent mechanical performance, including dimensional stability, high stiffness and tight part tolerances for internal chassis</a:t>
            </a:r>
          </a:p>
          <a:p>
            <a:pPr marL="346075" lvl="1" indent="-173038">
              <a:spcBef>
                <a:spcPts val="600"/>
              </a:spcBef>
              <a:spcAft>
                <a:spcPts val="300"/>
              </a:spcAft>
              <a:buSzPct val="100000"/>
              <a:buFont typeface="Courier New" panose="02070309020205020404" pitchFamily="49" charset="0"/>
              <a:buChar char="o"/>
              <a:defRPr/>
            </a:pPr>
            <a:r>
              <a:rPr lang="en-US" sz="900" dirty="0"/>
              <a:t>Improve production efficiency by allowing for higher cavity molds </a:t>
            </a:r>
            <a:r>
              <a:rPr lang="en-US" sz="900" i="1" dirty="0"/>
              <a:t>or </a:t>
            </a:r>
            <a:r>
              <a:rPr lang="en-US" sz="900" dirty="0"/>
              <a:t>shorter cycle times </a:t>
            </a:r>
          </a:p>
          <a:p>
            <a:pPr marL="346075" lvl="1" indent="-173038">
              <a:spcBef>
                <a:spcPts val="600"/>
              </a:spcBef>
              <a:spcAft>
                <a:spcPts val="300"/>
              </a:spcAft>
              <a:buSzPct val="100000"/>
              <a:buFont typeface="Courier New" panose="02070309020205020404" pitchFamily="49" charset="0"/>
              <a:buChar char="o"/>
              <a:defRPr/>
            </a:pPr>
            <a:r>
              <a:rPr lang="en-US" sz="900" dirty="0"/>
              <a:t>Address increasing internal component needs and design flexibility (i.e., electronics integration, space for additional functionality)</a:t>
            </a:r>
          </a:p>
          <a:p>
            <a:pPr defTabSz="514337">
              <a:spcAft>
                <a:spcPts val="300"/>
              </a:spcAft>
            </a:pPr>
            <a:endParaRPr lang="en-US" sz="975" dirty="0"/>
          </a:p>
        </p:txBody>
      </p:sp>
      <p:sp>
        <p:nvSpPr>
          <p:cNvPr id="45" name="TextBox 41"/>
          <p:cNvSpPr txBox="1"/>
          <p:nvPr/>
        </p:nvSpPr>
        <p:spPr>
          <a:xfrm>
            <a:off x="5883224" y="1322182"/>
            <a:ext cx="2770065" cy="705317"/>
          </a:xfrm>
          <a:prstGeom prst="rect">
            <a:avLst/>
          </a:prstGeom>
          <a:noFill/>
        </p:spPr>
        <p:txBody>
          <a:bodyPr wrap="square" lIns="91440" tIns="0" rIns="91440" bIns="0" rtlCol="0" anchor="ctr">
            <a:noAutofit/>
          </a:bodyPr>
          <a:lstStyle/>
          <a:p>
            <a:pPr defTabSz="514337">
              <a:spcAft>
                <a:spcPts val="300"/>
              </a:spcAft>
              <a:defRPr/>
            </a:pPr>
            <a:r>
              <a:rPr lang="en-US" sz="975" b="1" spc="-8" dirty="0"/>
              <a:t>Vectra® MT® LCP MT1305</a:t>
            </a:r>
            <a:r>
              <a:rPr lang="en-US" sz="975" spc="-8" dirty="0"/>
              <a:t>,</a:t>
            </a:r>
            <a:r>
              <a:rPr lang="en-US" sz="975" b="1" spc="-8" dirty="0"/>
              <a:t> </a:t>
            </a:r>
            <a:r>
              <a:rPr lang="en-US" sz="975" spc="-8" dirty="0"/>
              <a:t>a 15% glass-reinforced, higher-flow grade of LCP, enabled medical device designers to develop a thinner-walled, reduced-weight chassis </a:t>
            </a:r>
            <a:r>
              <a:rPr lang="en-US" sz="975" i="1" spc="-8" dirty="0"/>
              <a:t>and</a:t>
            </a:r>
            <a:r>
              <a:rPr lang="en-US" sz="975" spc="-8" dirty="0"/>
              <a:t> accelerate cycle times</a:t>
            </a:r>
          </a:p>
        </p:txBody>
      </p:sp>
      <p:sp>
        <p:nvSpPr>
          <p:cNvPr id="28" name="TextBox 32"/>
          <p:cNvSpPr txBox="1"/>
          <p:nvPr/>
        </p:nvSpPr>
        <p:spPr>
          <a:xfrm>
            <a:off x="5924103" y="2041832"/>
            <a:ext cx="2706129" cy="615553"/>
          </a:xfrm>
          <a:prstGeom prst="rect">
            <a:avLst/>
          </a:prstGeom>
          <a:noFill/>
        </p:spPr>
        <p:txBody>
          <a:bodyPr wrap="square" lIns="91440" tIns="0" rIns="91440" bIns="0" rtlCol="0">
            <a:spAutoFit/>
          </a:bodyPr>
          <a:lstStyle/>
          <a:p>
            <a:pPr marL="469106" defTabSz="685766">
              <a:spcBef>
                <a:spcPts val="900"/>
              </a:spcBef>
            </a:pPr>
            <a:r>
              <a:rPr lang="en-US" sz="800" b="1" dirty="0">
                <a:solidFill>
                  <a:srgbClr val="262626"/>
                </a:solidFill>
              </a:rPr>
              <a:t>Broad portfolio </a:t>
            </a:r>
            <a:r>
              <a:rPr lang="en-US" sz="800" dirty="0">
                <a:solidFill>
                  <a:srgbClr val="262626"/>
                </a:solidFill>
              </a:rPr>
              <a:t>of Vectra® MT® LCP includes glass-filled, mineral-filled, higher-flow, tribologically modified (PTFE), and appearance grades – suitable for a variety of uses in medical device applications</a:t>
            </a:r>
          </a:p>
        </p:txBody>
      </p:sp>
      <p:sp>
        <p:nvSpPr>
          <p:cNvPr id="33" name="object 24"/>
          <p:cNvSpPr/>
          <p:nvPr/>
        </p:nvSpPr>
        <p:spPr>
          <a:xfrm>
            <a:off x="5839025" y="2041832"/>
            <a:ext cx="527451" cy="527451"/>
          </a:xfrm>
          <a:custGeom>
            <a:avLst/>
            <a:gdLst/>
            <a:ahLst/>
            <a:cxnLst/>
            <a:rect l="l" t="t" r="r" b="b"/>
            <a:pathLst>
              <a:path w="1699260" h="1699260">
                <a:moveTo>
                  <a:pt x="849503" y="0"/>
                </a:moveTo>
                <a:lnTo>
                  <a:pt x="801297" y="1344"/>
                </a:lnTo>
                <a:lnTo>
                  <a:pt x="753797" y="5331"/>
                </a:lnTo>
                <a:lnTo>
                  <a:pt x="707074" y="11887"/>
                </a:lnTo>
                <a:lnTo>
                  <a:pt x="661201" y="20942"/>
                </a:lnTo>
                <a:lnTo>
                  <a:pt x="616247" y="32423"/>
                </a:lnTo>
                <a:lnTo>
                  <a:pt x="572286" y="46259"/>
                </a:lnTo>
                <a:lnTo>
                  <a:pt x="529389" y="62378"/>
                </a:lnTo>
                <a:lnTo>
                  <a:pt x="487628" y="80709"/>
                </a:lnTo>
                <a:lnTo>
                  <a:pt x="447074" y="101179"/>
                </a:lnTo>
                <a:lnTo>
                  <a:pt x="407799" y="123717"/>
                </a:lnTo>
                <a:lnTo>
                  <a:pt x="369875" y="148252"/>
                </a:lnTo>
                <a:lnTo>
                  <a:pt x="333374" y="174711"/>
                </a:lnTo>
                <a:lnTo>
                  <a:pt x="298367" y="203023"/>
                </a:lnTo>
                <a:lnTo>
                  <a:pt x="264926" y="233116"/>
                </a:lnTo>
                <a:lnTo>
                  <a:pt x="233122" y="264919"/>
                </a:lnTo>
                <a:lnTo>
                  <a:pt x="203028" y="298359"/>
                </a:lnTo>
                <a:lnTo>
                  <a:pt x="174716" y="333366"/>
                </a:lnTo>
                <a:lnTo>
                  <a:pt x="148256" y="369866"/>
                </a:lnTo>
                <a:lnTo>
                  <a:pt x="123721" y="407790"/>
                </a:lnTo>
                <a:lnTo>
                  <a:pt x="101182" y="447064"/>
                </a:lnTo>
                <a:lnTo>
                  <a:pt x="80711" y="487617"/>
                </a:lnTo>
                <a:lnTo>
                  <a:pt x="62380" y="529378"/>
                </a:lnTo>
                <a:lnTo>
                  <a:pt x="46260" y="572275"/>
                </a:lnTo>
                <a:lnTo>
                  <a:pt x="32424" y="616235"/>
                </a:lnTo>
                <a:lnTo>
                  <a:pt x="20942" y="661188"/>
                </a:lnTo>
                <a:lnTo>
                  <a:pt x="11887" y="707062"/>
                </a:lnTo>
                <a:lnTo>
                  <a:pt x="5331" y="753785"/>
                </a:lnTo>
                <a:lnTo>
                  <a:pt x="1344" y="801285"/>
                </a:lnTo>
                <a:lnTo>
                  <a:pt x="0" y="849490"/>
                </a:lnTo>
                <a:lnTo>
                  <a:pt x="1344" y="897695"/>
                </a:lnTo>
                <a:lnTo>
                  <a:pt x="5331" y="945195"/>
                </a:lnTo>
                <a:lnTo>
                  <a:pt x="11887" y="991918"/>
                </a:lnTo>
                <a:lnTo>
                  <a:pt x="20942" y="1037792"/>
                </a:lnTo>
                <a:lnTo>
                  <a:pt x="32424" y="1082745"/>
                </a:lnTo>
                <a:lnTo>
                  <a:pt x="46260" y="1126706"/>
                </a:lnTo>
                <a:lnTo>
                  <a:pt x="62380" y="1169603"/>
                </a:lnTo>
                <a:lnTo>
                  <a:pt x="80711" y="1211365"/>
                </a:lnTo>
                <a:lnTo>
                  <a:pt x="101182" y="1251919"/>
                </a:lnTo>
                <a:lnTo>
                  <a:pt x="123721" y="1291193"/>
                </a:lnTo>
                <a:lnTo>
                  <a:pt x="148256" y="1329117"/>
                </a:lnTo>
                <a:lnTo>
                  <a:pt x="174716" y="1365619"/>
                </a:lnTo>
                <a:lnTo>
                  <a:pt x="203028" y="1400626"/>
                </a:lnTo>
                <a:lnTo>
                  <a:pt x="233122" y="1434067"/>
                </a:lnTo>
                <a:lnTo>
                  <a:pt x="264926" y="1465870"/>
                </a:lnTo>
                <a:lnTo>
                  <a:pt x="298367" y="1495964"/>
                </a:lnTo>
                <a:lnTo>
                  <a:pt x="333374" y="1524277"/>
                </a:lnTo>
                <a:lnTo>
                  <a:pt x="369875" y="1550736"/>
                </a:lnTo>
                <a:lnTo>
                  <a:pt x="407799" y="1575272"/>
                </a:lnTo>
                <a:lnTo>
                  <a:pt x="447074" y="1597810"/>
                </a:lnTo>
                <a:lnTo>
                  <a:pt x="487628" y="1618281"/>
                </a:lnTo>
                <a:lnTo>
                  <a:pt x="529389" y="1636612"/>
                </a:lnTo>
                <a:lnTo>
                  <a:pt x="572286" y="1652732"/>
                </a:lnTo>
                <a:lnTo>
                  <a:pt x="616247" y="1666568"/>
                </a:lnTo>
                <a:lnTo>
                  <a:pt x="661201" y="1678050"/>
                </a:lnTo>
                <a:lnTo>
                  <a:pt x="707074" y="1687105"/>
                </a:lnTo>
                <a:lnTo>
                  <a:pt x="753797" y="1693661"/>
                </a:lnTo>
                <a:lnTo>
                  <a:pt x="801297" y="1697648"/>
                </a:lnTo>
                <a:lnTo>
                  <a:pt x="849503" y="1698993"/>
                </a:lnTo>
                <a:lnTo>
                  <a:pt x="897708" y="1697648"/>
                </a:lnTo>
                <a:lnTo>
                  <a:pt x="945208" y="1693661"/>
                </a:lnTo>
                <a:lnTo>
                  <a:pt x="991931" y="1687105"/>
                </a:lnTo>
                <a:lnTo>
                  <a:pt x="1037804" y="1678050"/>
                </a:lnTo>
                <a:lnTo>
                  <a:pt x="1082758" y="1666568"/>
                </a:lnTo>
                <a:lnTo>
                  <a:pt x="1126719" y="1652732"/>
                </a:lnTo>
                <a:lnTo>
                  <a:pt x="1169616" y="1636612"/>
                </a:lnTo>
                <a:lnTo>
                  <a:pt x="1211377" y="1618281"/>
                </a:lnTo>
                <a:lnTo>
                  <a:pt x="1251931" y="1597810"/>
                </a:lnTo>
                <a:lnTo>
                  <a:pt x="1291206" y="1575272"/>
                </a:lnTo>
                <a:lnTo>
                  <a:pt x="1329130" y="1550736"/>
                </a:lnTo>
                <a:lnTo>
                  <a:pt x="1365631" y="1524277"/>
                </a:lnTo>
                <a:lnTo>
                  <a:pt x="1400638" y="1495964"/>
                </a:lnTo>
                <a:lnTo>
                  <a:pt x="1434079" y="1465870"/>
                </a:lnTo>
                <a:lnTo>
                  <a:pt x="1465883" y="1434067"/>
                </a:lnTo>
                <a:lnTo>
                  <a:pt x="1495977" y="1400626"/>
                </a:lnTo>
                <a:lnTo>
                  <a:pt x="1524289" y="1365619"/>
                </a:lnTo>
                <a:lnTo>
                  <a:pt x="1550749" y="1329117"/>
                </a:lnTo>
                <a:lnTo>
                  <a:pt x="1575284" y="1291193"/>
                </a:lnTo>
                <a:lnTo>
                  <a:pt x="1597823" y="1251919"/>
                </a:lnTo>
                <a:lnTo>
                  <a:pt x="1618294" y="1211365"/>
                </a:lnTo>
                <a:lnTo>
                  <a:pt x="1636625" y="1169603"/>
                </a:lnTo>
                <a:lnTo>
                  <a:pt x="1652745" y="1126706"/>
                </a:lnTo>
                <a:lnTo>
                  <a:pt x="1666581" y="1082745"/>
                </a:lnTo>
                <a:lnTo>
                  <a:pt x="1678063" y="1037792"/>
                </a:lnTo>
                <a:lnTo>
                  <a:pt x="1687118" y="991918"/>
                </a:lnTo>
                <a:lnTo>
                  <a:pt x="1693674" y="945195"/>
                </a:lnTo>
                <a:lnTo>
                  <a:pt x="1697661" y="897695"/>
                </a:lnTo>
                <a:lnTo>
                  <a:pt x="1699006" y="849490"/>
                </a:lnTo>
                <a:lnTo>
                  <a:pt x="1697661" y="801285"/>
                </a:lnTo>
                <a:lnTo>
                  <a:pt x="1693674" y="753785"/>
                </a:lnTo>
                <a:lnTo>
                  <a:pt x="1687118" y="707062"/>
                </a:lnTo>
                <a:lnTo>
                  <a:pt x="1678063" y="661188"/>
                </a:lnTo>
                <a:lnTo>
                  <a:pt x="1666581" y="616235"/>
                </a:lnTo>
                <a:lnTo>
                  <a:pt x="1652745" y="572275"/>
                </a:lnTo>
                <a:lnTo>
                  <a:pt x="1636625" y="529378"/>
                </a:lnTo>
                <a:lnTo>
                  <a:pt x="1618294" y="487617"/>
                </a:lnTo>
                <a:lnTo>
                  <a:pt x="1597823" y="447064"/>
                </a:lnTo>
                <a:lnTo>
                  <a:pt x="1575284" y="407790"/>
                </a:lnTo>
                <a:lnTo>
                  <a:pt x="1550749" y="369866"/>
                </a:lnTo>
                <a:lnTo>
                  <a:pt x="1524289" y="333366"/>
                </a:lnTo>
                <a:lnTo>
                  <a:pt x="1495977" y="298359"/>
                </a:lnTo>
                <a:lnTo>
                  <a:pt x="1465883" y="264919"/>
                </a:lnTo>
                <a:lnTo>
                  <a:pt x="1434079" y="233116"/>
                </a:lnTo>
                <a:lnTo>
                  <a:pt x="1400638" y="203023"/>
                </a:lnTo>
                <a:lnTo>
                  <a:pt x="1365631" y="174711"/>
                </a:lnTo>
                <a:lnTo>
                  <a:pt x="1329130" y="148252"/>
                </a:lnTo>
                <a:lnTo>
                  <a:pt x="1291206" y="123717"/>
                </a:lnTo>
                <a:lnTo>
                  <a:pt x="1251931" y="101179"/>
                </a:lnTo>
                <a:lnTo>
                  <a:pt x="1211377" y="80709"/>
                </a:lnTo>
                <a:lnTo>
                  <a:pt x="1169616" y="62378"/>
                </a:lnTo>
                <a:lnTo>
                  <a:pt x="1126719" y="46259"/>
                </a:lnTo>
                <a:lnTo>
                  <a:pt x="1082758" y="32423"/>
                </a:lnTo>
                <a:lnTo>
                  <a:pt x="1037804" y="20942"/>
                </a:lnTo>
                <a:lnTo>
                  <a:pt x="991931" y="11887"/>
                </a:lnTo>
                <a:lnTo>
                  <a:pt x="945208" y="5331"/>
                </a:lnTo>
                <a:lnTo>
                  <a:pt x="897708" y="1344"/>
                </a:lnTo>
                <a:lnTo>
                  <a:pt x="849503" y="0"/>
                </a:lnTo>
                <a:close/>
              </a:path>
            </a:pathLst>
          </a:custGeom>
          <a:solidFill>
            <a:srgbClr val="7030A0"/>
          </a:solidFill>
          <a:effectLst>
            <a:outerShdw blurRad="50800" dist="38100" dir="2700000" algn="tl" rotWithShape="0">
              <a:prstClr val="black">
                <a:alpha val="40000"/>
              </a:prstClr>
            </a:outerShdw>
          </a:effectLst>
        </p:spPr>
        <p:txBody>
          <a:bodyPr wrap="square" lIns="0" tIns="0" rIns="0" bIns="0" rtlCol="0" anchor="ctr"/>
          <a:lstStyle/>
          <a:p>
            <a:pPr algn="ctr"/>
            <a:r>
              <a:rPr lang="en-US" sz="600" b="1" cap="all" dirty="0">
                <a:solidFill>
                  <a:schemeClr val="bg1"/>
                </a:solidFill>
                <a:cs typeface="Helvetica" panose="020B0604020202020204" pitchFamily="34" charset="0"/>
              </a:rPr>
              <a:t>Breadth of Polymers &amp; Chemicals</a:t>
            </a:r>
            <a:endParaRPr sz="600" b="1" cap="all" dirty="0">
              <a:solidFill>
                <a:schemeClr val="bg1"/>
              </a:solidFill>
              <a:cs typeface="Helvetica" panose="020B0604020202020204" pitchFamily="34" charset="0"/>
            </a:endParaRPr>
          </a:p>
        </p:txBody>
      </p:sp>
      <p:sp>
        <p:nvSpPr>
          <p:cNvPr id="37" name="TextBox 26"/>
          <p:cNvSpPr txBox="1"/>
          <p:nvPr/>
        </p:nvSpPr>
        <p:spPr>
          <a:xfrm>
            <a:off x="5893195" y="3336754"/>
            <a:ext cx="2737037" cy="938719"/>
          </a:xfrm>
          <a:prstGeom prst="rect">
            <a:avLst/>
          </a:prstGeom>
          <a:noFill/>
        </p:spPr>
        <p:txBody>
          <a:bodyPr wrap="square" lIns="91440" tIns="0" rIns="91440" bIns="0" rtlCol="0">
            <a:spAutoFit/>
          </a:bodyPr>
          <a:lstStyle/>
          <a:p>
            <a:pPr marL="469106" defTabSz="685766">
              <a:spcBef>
                <a:spcPts val="600"/>
              </a:spcBef>
            </a:pPr>
            <a:r>
              <a:rPr lang="it-IT" sz="800" b="1" dirty="0"/>
              <a:t>MT® </a:t>
            </a:r>
            <a:r>
              <a:rPr lang="it-IT" sz="800" b="1" dirty="0" err="1"/>
              <a:t>Polymer</a:t>
            </a:r>
            <a:r>
              <a:rPr lang="it-IT" sz="800" b="1" dirty="0"/>
              <a:t> Service Package –</a:t>
            </a:r>
            <a:r>
              <a:rPr lang="it-IT" sz="800" dirty="0"/>
              <a:t> </a:t>
            </a:r>
            <a:r>
              <a:rPr lang="en-US" sz="800" dirty="0"/>
              <a:t>Regulatory support, risk reduction, long-term supply.</a:t>
            </a:r>
          </a:p>
          <a:p>
            <a:pPr marL="469106" defTabSz="685766">
              <a:spcBef>
                <a:spcPts val="600"/>
              </a:spcBef>
            </a:pPr>
            <a:r>
              <a:rPr lang="en-US" sz="800" b="1" dirty="0">
                <a:solidFill>
                  <a:srgbClr val="262626"/>
                </a:solidFill>
              </a:rPr>
              <a:t>Part Design &amp; Processing </a:t>
            </a:r>
            <a:r>
              <a:rPr lang="en-US" sz="800" b="1" dirty="0"/>
              <a:t>– I</a:t>
            </a:r>
            <a:r>
              <a:rPr lang="en-US" sz="800" dirty="0"/>
              <a:t>ndustry-leading computer-aided engineering LCP design capabilities provides ability to conceptualize new part designs and incorporate material property advantages</a:t>
            </a:r>
          </a:p>
        </p:txBody>
      </p:sp>
      <p:sp>
        <p:nvSpPr>
          <p:cNvPr id="42" name="object 21"/>
          <p:cNvSpPr/>
          <p:nvPr/>
        </p:nvSpPr>
        <p:spPr>
          <a:xfrm>
            <a:off x="5839025" y="2706868"/>
            <a:ext cx="528066" cy="528066"/>
          </a:xfrm>
          <a:custGeom>
            <a:avLst/>
            <a:gdLst/>
            <a:ahLst/>
            <a:cxnLst/>
            <a:rect l="l" t="t" r="r" b="b"/>
            <a:pathLst>
              <a:path w="1699260" h="1699260">
                <a:moveTo>
                  <a:pt x="849502" y="0"/>
                </a:moveTo>
                <a:lnTo>
                  <a:pt x="801297" y="1344"/>
                </a:lnTo>
                <a:lnTo>
                  <a:pt x="753797" y="5331"/>
                </a:lnTo>
                <a:lnTo>
                  <a:pt x="707074" y="11887"/>
                </a:lnTo>
                <a:lnTo>
                  <a:pt x="661201" y="20942"/>
                </a:lnTo>
                <a:lnTo>
                  <a:pt x="616247" y="32423"/>
                </a:lnTo>
                <a:lnTo>
                  <a:pt x="572286" y="46259"/>
                </a:lnTo>
                <a:lnTo>
                  <a:pt x="529389" y="62378"/>
                </a:lnTo>
                <a:lnTo>
                  <a:pt x="487628" y="80709"/>
                </a:lnTo>
                <a:lnTo>
                  <a:pt x="447074" y="101179"/>
                </a:lnTo>
                <a:lnTo>
                  <a:pt x="407799" y="123717"/>
                </a:lnTo>
                <a:lnTo>
                  <a:pt x="369875" y="148252"/>
                </a:lnTo>
                <a:lnTo>
                  <a:pt x="333374" y="174711"/>
                </a:lnTo>
                <a:lnTo>
                  <a:pt x="298367" y="203023"/>
                </a:lnTo>
                <a:lnTo>
                  <a:pt x="264926" y="233116"/>
                </a:lnTo>
                <a:lnTo>
                  <a:pt x="233122" y="264919"/>
                </a:lnTo>
                <a:lnTo>
                  <a:pt x="203028" y="298359"/>
                </a:lnTo>
                <a:lnTo>
                  <a:pt x="174716" y="333366"/>
                </a:lnTo>
                <a:lnTo>
                  <a:pt x="148256" y="369866"/>
                </a:lnTo>
                <a:lnTo>
                  <a:pt x="123721" y="407790"/>
                </a:lnTo>
                <a:lnTo>
                  <a:pt x="101182" y="447064"/>
                </a:lnTo>
                <a:lnTo>
                  <a:pt x="80711" y="487617"/>
                </a:lnTo>
                <a:lnTo>
                  <a:pt x="62380" y="529378"/>
                </a:lnTo>
                <a:lnTo>
                  <a:pt x="46260" y="572275"/>
                </a:lnTo>
                <a:lnTo>
                  <a:pt x="32424" y="616235"/>
                </a:lnTo>
                <a:lnTo>
                  <a:pt x="20942" y="661188"/>
                </a:lnTo>
                <a:lnTo>
                  <a:pt x="11887" y="707062"/>
                </a:lnTo>
                <a:lnTo>
                  <a:pt x="5331" y="753785"/>
                </a:lnTo>
                <a:lnTo>
                  <a:pt x="1344" y="801285"/>
                </a:lnTo>
                <a:lnTo>
                  <a:pt x="0" y="849490"/>
                </a:lnTo>
                <a:lnTo>
                  <a:pt x="1344" y="897695"/>
                </a:lnTo>
                <a:lnTo>
                  <a:pt x="5331" y="945195"/>
                </a:lnTo>
                <a:lnTo>
                  <a:pt x="11887" y="991918"/>
                </a:lnTo>
                <a:lnTo>
                  <a:pt x="20942" y="1037792"/>
                </a:lnTo>
                <a:lnTo>
                  <a:pt x="32424" y="1082745"/>
                </a:lnTo>
                <a:lnTo>
                  <a:pt x="46260" y="1126706"/>
                </a:lnTo>
                <a:lnTo>
                  <a:pt x="62380" y="1169603"/>
                </a:lnTo>
                <a:lnTo>
                  <a:pt x="80711" y="1211365"/>
                </a:lnTo>
                <a:lnTo>
                  <a:pt x="101182" y="1251919"/>
                </a:lnTo>
                <a:lnTo>
                  <a:pt x="123721" y="1291193"/>
                </a:lnTo>
                <a:lnTo>
                  <a:pt x="148256" y="1329117"/>
                </a:lnTo>
                <a:lnTo>
                  <a:pt x="174716" y="1365619"/>
                </a:lnTo>
                <a:lnTo>
                  <a:pt x="203028" y="1400626"/>
                </a:lnTo>
                <a:lnTo>
                  <a:pt x="233122" y="1434067"/>
                </a:lnTo>
                <a:lnTo>
                  <a:pt x="264926" y="1465870"/>
                </a:lnTo>
                <a:lnTo>
                  <a:pt x="298367" y="1495964"/>
                </a:lnTo>
                <a:lnTo>
                  <a:pt x="333374" y="1524277"/>
                </a:lnTo>
                <a:lnTo>
                  <a:pt x="369875" y="1550736"/>
                </a:lnTo>
                <a:lnTo>
                  <a:pt x="407799" y="1575272"/>
                </a:lnTo>
                <a:lnTo>
                  <a:pt x="447074" y="1597810"/>
                </a:lnTo>
                <a:lnTo>
                  <a:pt x="487628" y="1618281"/>
                </a:lnTo>
                <a:lnTo>
                  <a:pt x="529389" y="1636612"/>
                </a:lnTo>
                <a:lnTo>
                  <a:pt x="572286" y="1652732"/>
                </a:lnTo>
                <a:lnTo>
                  <a:pt x="616247" y="1666568"/>
                </a:lnTo>
                <a:lnTo>
                  <a:pt x="661201" y="1678050"/>
                </a:lnTo>
                <a:lnTo>
                  <a:pt x="707074" y="1687105"/>
                </a:lnTo>
                <a:lnTo>
                  <a:pt x="753797" y="1693661"/>
                </a:lnTo>
                <a:lnTo>
                  <a:pt x="801297" y="1697648"/>
                </a:lnTo>
                <a:lnTo>
                  <a:pt x="849502" y="1698993"/>
                </a:lnTo>
                <a:lnTo>
                  <a:pt x="897708" y="1697648"/>
                </a:lnTo>
                <a:lnTo>
                  <a:pt x="945208" y="1693661"/>
                </a:lnTo>
                <a:lnTo>
                  <a:pt x="991931" y="1687105"/>
                </a:lnTo>
                <a:lnTo>
                  <a:pt x="1037804" y="1678050"/>
                </a:lnTo>
                <a:lnTo>
                  <a:pt x="1082758" y="1666568"/>
                </a:lnTo>
                <a:lnTo>
                  <a:pt x="1126719" y="1652732"/>
                </a:lnTo>
                <a:lnTo>
                  <a:pt x="1169616" y="1636612"/>
                </a:lnTo>
                <a:lnTo>
                  <a:pt x="1211377" y="1618281"/>
                </a:lnTo>
                <a:lnTo>
                  <a:pt x="1251931" y="1597810"/>
                </a:lnTo>
                <a:lnTo>
                  <a:pt x="1291206" y="1575272"/>
                </a:lnTo>
                <a:lnTo>
                  <a:pt x="1329130" y="1550736"/>
                </a:lnTo>
                <a:lnTo>
                  <a:pt x="1365631" y="1524277"/>
                </a:lnTo>
                <a:lnTo>
                  <a:pt x="1400638" y="1495964"/>
                </a:lnTo>
                <a:lnTo>
                  <a:pt x="1434079" y="1465870"/>
                </a:lnTo>
                <a:lnTo>
                  <a:pt x="1465883" y="1434067"/>
                </a:lnTo>
                <a:lnTo>
                  <a:pt x="1495977" y="1400626"/>
                </a:lnTo>
                <a:lnTo>
                  <a:pt x="1524289" y="1365619"/>
                </a:lnTo>
                <a:lnTo>
                  <a:pt x="1550749" y="1329117"/>
                </a:lnTo>
                <a:lnTo>
                  <a:pt x="1575284" y="1291193"/>
                </a:lnTo>
                <a:lnTo>
                  <a:pt x="1597823" y="1251919"/>
                </a:lnTo>
                <a:lnTo>
                  <a:pt x="1618294" y="1211365"/>
                </a:lnTo>
                <a:lnTo>
                  <a:pt x="1636625" y="1169603"/>
                </a:lnTo>
                <a:lnTo>
                  <a:pt x="1652745" y="1126706"/>
                </a:lnTo>
                <a:lnTo>
                  <a:pt x="1666581" y="1082745"/>
                </a:lnTo>
                <a:lnTo>
                  <a:pt x="1678063" y="1037792"/>
                </a:lnTo>
                <a:lnTo>
                  <a:pt x="1687118" y="991918"/>
                </a:lnTo>
                <a:lnTo>
                  <a:pt x="1693674" y="945195"/>
                </a:lnTo>
                <a:lnTo>
                  <a:pt x="1697661" y="897695"/>
                </a:lnTo>
                <a:lnTo>
                  <a:pt x="1699005" y="849490"/>
                </a:lnTo>
                <a:lnTo>
                  <a:pt x="1697661" y="801285"/>
                </a:lnTo>
                <a:lnTo>
                  <a:pt x="1693674" y="753785"/>
                </a:lnTo>
                <a:lnTo>
                  <a:pt x="1687118" y="707062"/>
                </a:lnTo>
                <a:lnTo>
                  <a:pt x="1678063" y="661188"/>
                </a:lnTo>
                <a:lnTo>
                  <a:pt x="1666581" y="616235"/>
                </a:lnTo>
                <a:lnTo>
                  <a:pt x="1652745" y="572275"/>
                </a:lnTo>
                <a:lnTo>
                  <a:pt x="1636625" y="529378"/>
                </a:lnTo>
                <a:lnTo>
                  <a:pt x="1618294" y="487617"/>
                </a:lnTo>
                <a:lnTo>
                  <a:pt x="1597823" y="447064"/>
                </a:lnTo>
                <a:lnTo>
                  <a:pt x="1575284" y="407790"/>
                </a:lnTo>
                <a:lnTo>
                  <a:pt x="1550749" y="369866"/>
                </a:lnTo>
                <a:lnTo>
                  <a:pt x="1524289" y="333366"/>
                </a:lnTo>
                <a:lnTo>
                  <a:pt x="1495977" y="298359"/>
                </a:lnTo>
                <a:lnTo>
                  <a:pt x="1465883" y="264919"/>
                </a:lnTo>
                <a:lnTo>
                  <a:pt x="1434079" y="233116"/>
                </a:lnTo>
                <a:lnTo>
                  <a:pt x="1400638" y="203023"/>
                </a:lnTo>
                <a:lnTo>
                  <a:pt x="1365631" y="174711"/>
                </a:lnTo>
                <a:lnTo>
                  <a:pt x="1329130" y="148252"/>
                </a:lnTo>
                <a:lnTo>
                  <a:pt x="1291206" y="123717"/>
                </a:lnTo>
                <a:lnTo>
                  <a:pt x="1251931" y="101179"/>
                </a:lnTo>
                <a:lnTo>
                  <a:pt x="1211377" y="80709"/>
                </a:lnTo>
                <a:lnTo>
                  <a:pt x="1169616" y="62378"/>
                </a:lnTo>
                <a:lnTo>
                  <a:pt x="1126719" y="46259"/>
                </a:lnTo>
                <a:lnTo>
                  <a:pt x="1082758" y="32423"/>
                </a:lnTo>
                <a:lnTo>
                  <a:pt x="1037804" y="20942"/>
                </a:lnTo>
                <a:lnTo>
                  <a:pt x="991931" y="11887"/>
                </a:lnTo>
                <a:lnTo>
                  <a:pt x="945208" y="5331"/>
                </a:lnTo>
                <a:lnTo>
                  <a:pt x="897708" y="1344"/>
                </a:lnTo>
                <a:lnTo>
                  <a:pt x="849502" y="0"/>
                </a:lnTo>
                <a:close/>
              </a:path>
            </a:pathLst>
          </a:custGeom>
          <a:solidFill>
            <a:srgbClr val="FFD000"/>
          </a:solidFill>
          <a:effectLst>
            <a:outerShdw blurRad="63500" sx="102000" sy="102000" algn="ctr" rotWithShape="0">
              <a:prstClr val="black">
                <a:alpha val="40000"/>
              </a:prstClr>
            </a:outerShdw>
          </a:effectLst>
        </p:spPr>
        <p:txBody>
          <a:bodyPr wrap="square" lIns="0" tIns="0" rIns="0" bIns="0" rtlCol="0" anchor="ctr"/>
          <a:lstStyle/>
          <a:p>
            <a:pPr algn="ctr"/>
            <a:r>
              <a:rPr lang="en-US" sz="600" b="1" cap="all" dirty="0">
                <a:solidFill>
                  <a:schemeClr val="bg1"/>
                </a:solidFill>
                <a:cs typeface="Helvetica" panose="020B0604020202020204" pitchFamily="34" charset="0"/>
              </a:rPr>
              <a:t>Extensive Functionality</a:t>
            </a:r>
            <a:br>
              <a:rPr lang="en-US" sz="600" b="1" cap="all" dirty="0">
                <a:solidFill>
                  <a:schemeClr val="bg1"/>
                </a:solidFill>
                <a:cs typeface="Helvetica" panose="020B0604020202020204" pitchFamily="34" charset="0"/>
              </a:rPr>
            </a:br>
            <a:r>
              <a:rPr lang="en-US" sz="600" b="1" cap="all" dirty="0">
                <a:solidFill>
                  <a:schemeClr val="bg1"/>
                </a:solidFill>
                <a:cs typeface="Helvetica" panose="020B0604020202020204" pitchFamily="34" charset="0"/>
              </a:rPr>
              <a:t>of Polymers</a:t>
            </a:r>
            <a:endParaRPr sz="600" b="1" cap="all" dirty="0">
              <a:solidFill>
                <a:schemeClr val="bg1"/>
              </a:solidFill>
              <a:cs typeface="Helvetica" panose="020B0604020202020204" pitchFamily="34" charset="0"/>
            </a:endParaRPr>
          </a:p>
        </p:txBody>
      </p:sp>
      <p:sp>
        <p:nvSpPr>
          <p:cNvPr id="48" name="object 18"/>
          <p:cNvSpPr>
            <a:spLocks noChangeAspect="1"/>
          </p:cNvSpPr>
          <p:nvPr/>
        </p:nvSpPr>
        <p:spPr>
          <a:xfrm>
            <a:off x="5839025" y="3336754"/>
            <a:ext cx="528066" cy="528066"/>
          </a:xfrm>
          <a:custGeom>
            <a:avLst/>
            <a:gdLst/>
            <a:ahLst/>
            <a:cxnLst/>
            <a:rect l="l" t="t" r="r" b="b"/>
            <a:pathLst>
              <a:path w="1699259" h="1699260">
                <a:moveTo>
                  <a:pt x="849502" y="0"/>
                </a:moveTo>
                <a:lnTo>
                  <a:pt x="801297" y="1344"/>
                </a:lnTo>
                <a:lnTo>
                  <a:pt x="753797" y="5331"/>
                </a:lnTo>
                <a:lnTo>
                  <a:pt x="707074" y="11887"/>
                </a:lnTo>
                <a:lnTo>
                  <a:pt x="661201" y="20942"/>
                </a:lnTo>
                <a:lnTo>
                  <a:pt x="616247" y="32423"/>
                </a:lnTo>
                <a:lnTo>
                  <a:pt x="572286" y="46259"/>
                </a:lnTo>
                <a:lnTo>
                  <a:pt x="529389" y="62378"/>
                </a:lnTo>
                <a:lnTo>
                  <a:pt x="487628" y="80709"/>
                </a:lnTo>
                <a:lnTo>
                  <a:pt x="447074" y="101179"/>
                </a:lnTo>
                <a:lnTo>
                  <a:pt x="407799" y="123717"/>
                </a:lnTo>
                <a:lnTo>
                  <a:pt x="369875" y="148252"/>
                </a:lnTo>
                <a:lnTo>
                  <a:pt x="333374" y="174711"/>
                </a:lnTo>
                <a:lnTo>
                  <a:pt x="298367" y="203023"/>
                </a:lnTo>
                <a:lnTo>
                  <a:pt x="264926" y="233116"/>
                </a:lnTo>
                <a:lnTo>
                  <a:pt x="233122" y="264919"/>
                </a:lnTo>
                <a:lnTo>
                  <a:pt x="203028" y="298359"/>
                </a:lnTo>
                <a:lnTo>
                  <a:pt x="174716" y="333366"/>
                </a:lnTo>
                <a:lnTo>
                  <a:pt x="148256" y="369866"/>
                </a:lnTo>
                <a:lnTo>
                  <a:pt x="123721" y="407790"/>
                </a:lnTo>
                <a:lnTo>
                  <a:pt x="101182" y="447064"/>
                </a:lnTo>
                <a:lnTo>
                  <a:pt x="80711" y="487617"/>
                </a:lnTo>
                <a:lnTo>
                  <a:pt x="62380" y="529378"/>
                </a:lnTo>
                <a:lnTo>
                  <a:pt x="46260" y="572275"/>
                </a:lnTo>
                <a:lnTo>
                  <a:pt x="32424" y="616235"/>
                </a:lnTo>
                <a:lnTo>
                  <a:pt x="20942" y="661188"/>
                </a:lnTo>
                <a:lnTo>
                  <a:pt x="11887" y="707062"/>
                </a:lnTo>
                <a:lnTo>
                  <a:pt x="5331" y="753785"/>
                </a:lnTo>
                <a:lnTo>
                  <a:pt x="1344" y="801285"/>
                </a:lnTo>
                <a:lnTo>
                  <a:pt x="0" y="849490"/>
                </a:lnTo>
                <a:lnTo>
                  <a:pt x="1344" y="897695"/>
                </a:lnTo>
                <a:lnTo>
                  <a:pt x="5331" y="945195"/>
                </a:lnTo>
                <a:lnTo>
                  <a:pt x="11887" y="991918"/>
                </a:lnTo>
                <a:lnTo>
                  <a:pt x="20942" y="1037792"/>
                </a:lnTo>
                <a:lnTo>
                  <a:pt x="32424" y="1082745"/>
                </a:lnTo>
                <a:lnTo>
                  <a:pt x="46260" y="1126706"/>
                </a:lnTo>
                <a:lnTo>
                  <a:pt x="62380" y="1169603"/>
                </a:lnTo>
                <a:lnTo>
                  <a:pt x="80711" y="1211365"/>
                </a:lnTo>
                <a:lnTo>
                  <a:pt x="101182" y="1251919"/>
                </a:lnTo>
                <a:lnTo>
                  <a:pt x="123721" y="1291193"/>
                </a:lnTo>
                <a:lnTo>
                  <a:pt x="148256" y="1329117"/>
                </a:lnTo>
                <a:lnTo>
                  <a:pt x="174716" y="1365619"/>
                </a:lnTo>
                <a:lnTo>
                  <a:pt x="203028" y="1400626"/>
                </a:lnTo>
                <a:lnTo>
                  <a:pt x="233122" y="1434067"/>
                </a:lnTo>
                <a:lnTo>
                  <a:pt x="264926" y="1465870"/>
                </a:lnTo>
                <a:lnTo>
                  <a:pt x="298367" y="1495964"/>
                </a:lnTo>
                <a:lnTo>
                  <a:pt x="333374" y="1524277"/>
                </a:lnTo>
                <a:lnTo>
                  <a:pt x="369875" y="1550736"/>
                </a:lnTo>
                <a:lnTo>
                  <a:pt x="407799" y="1575272"/>
                </a:lnTo>
                <a:lnTo>
                  <a:pt x="447074" y="1597810"/>
                </a:lnTo>
                <a:lnTo>
                  <a:pt x="487628" y="1618281"/>
                </a:lnTo>
                <a:lnTo>
                  <a:pt x="529389" y="1636612"/>
                </a:lnTo>
                <a:lnTo>
                  <a:pt x="572286" y="1652732"/>
                </a:lnTo>
                <a:lnTo>
                  <a:pt x="616247" y="1666568"/>
                </a:lnTo>
                <a:lnTo>
                  <a:pt x="661201" y="1678050"/>
                </a:lnTo>
                <a:lnTo>
                  <a:pt x="707074" y="1687105"/>
                </a:lnTo>
                <a:lnTo>
                  <a:pt x="753797" y="1693661"/>
                </a:lnTo>
                <a:lnTo>
                  <a:pt x="801297" y="1697648"/>
                </a:lnTo>
                <a:lnTo>
                  <a:pt x="849502" y="1698993"/>
                </a:lnTo>
                <a:lnTo>
                  <a:pt x="897708" y="1697648"/>
                </a:lnTo>
                <a:lnTo>
                  <a:pt x="945208" y="1693661"/>
                </a:lnTo>
                <a:lnTo>
                  <a:pt x="991931" y="1687105"/>
                </a:lnTo>
                <a:lnTo>
                  <a:pt x="1037804" y="1678050"/>
                </a:lnTo>
                <a:lnTo>
                  <a:pt x="1082758" y="1666568"/>
                </a:lnTo>
                <a:lnTo>
                  <a:pt x="1126719" y="1652732"/>
                </a:lnTo>
                <a:lnTo>
                  <a:pt x="1169616" y="1636612"/>
                </a:lnTo>
                <a:lnTo>
                  <a:pt x="1211377" y="1618281"/>
                </a:lnTo>
                <a:lnTo>
                  <a:pt x="1251931" y="1597810"/>
                </a:lnTo>
                <a:lnTo>
                  <a:pt x="1291206" y="1575272"/>
                </a:lnTo>
                <a:lnTo>
                  <a:pt x="1329130" y="1550736"/>
                </a:lnTo>
                <a:lnTo>
                  <a:pt x="1365631" y="1524277"/>
                </a:lnTo>
                <a:lnTo>
                  <a:pt x="1400638" y="1495964"/>
                </a:lnTo>
                <a:lnTo>
                  <a:pt x="1434079" y="1465870"/>
                </a:lnTo>
                <a:lnTo>
                  <a:pt x="1465883" y="1434067"/>
                </a:lnTo>
                <a:lnTo>
                  <a:pt x="1495977" y="1400626"/>
                </a:lnTo>
                <a:lnTo>
                  <a:pt x="1524289" y="1365619"/>
                </a:lnTo>
                <a:lnTo>
                  <a:pt x="1550749" y="1329117"/>
                </a:lnTo>
                <a:lnTo>
                  <a:pt x="1575284" y="1291193"/>
                </a:lnTo>
                <a:lnTo>
                  <a:pt x="1597823" y="1251919"/>
                </a:lnTo>
                <a:lnTo>
                  <a:pt x="1618294" y="1211365"/>
                </a:lnTo>
                <a:lnTo>
                  <a:pt x="1636625" y="1169603"/>
                </a:lnTo>
                <a:lnTo>
                  <a:pt x="1652745" y="1126706"/>
                </a:lnTo>
                <a:lnTo>
                  <a:pt x="1666581" y="1082745"/>
                </a:lnTo>
                <a:lnTo>
                  <a:pt x="1678063" y="1037792"/>
                </a:lnTo>
                <a:lnTo>
                  <a:pt x="1687118" y="991918"/>
                </a:lnTo>
                <a:lnTo>
                  <a:pt x="1693674" y="945195"/>
                </a:lnTo>
                <a:lnTo>
                  <a:pt x="1697661" y="897695"/>
                </a:lnTo>
                <a:lnTo>
                  <a:pt x="1699005" y="849490"/>
                </a:lnTo>
                <a:lnTo>
                  <a:pt x="1697661" y="801285"/>
                </a:lnTo>
                <a:lnTo>
                  <a:pt x="1693674" y="753785"/>
                </a:lnTo>
                <a:lnTo>
                  <a:pt x="1687118" y="707062"/>
                </a:lnTo>
                <a:lnTo>
                  <a:pt x="1678063" y="661188"/>
                </a:lnTo>
                <a:lnTo>
                  <a:pt x="1666581" y="616235"/>
                </a:lnTo>
                <a:lnTo>
                  <a:pt x="1652745" y="572275"/>
                </a:lnTo>
                <a:lnTo>
                  <a:pt x="1636625" y="529378"/>
                </a:lnTo>
                <a:lnTo>
                  <a:pt x="1618294" y="487617"/>
                </a:lnTo>
                <a:lnTo>
                  <a:pt x="1597823" y="447064"/>
                </a:lnTo>
                <a:lnTo>
                  <a:pt x="1575284" y="407790"/>
                </a:lnTo>
                <a:lnTo>
                  <a:pt x="1550749" y="369866"/>
                </a:lnTo>
                <a:lnTo>
                  <a:pt x="1524289" y="333366"/>
                </a:lnTo>
                <a:lnTo>
                  <a:pt x="1495977" y="298359"/>
                </a:lnTo>
                <a:lnTo>
                  <a:pt x="1465883" y="264919"/>
                </a:lnTo>
                <a:lnTo>
                  <a:pt x="1434079" y="233116"/>
                </a:lnTo>
                <a:lnTo>
                  <a:pt x="1400638" y="203023"/>
                </a:lnTo>
                <a:lnTo>
                  <a:pt x="1365631" y="174711"/>
                </a:lnTo>
                <a:lnTo>
                  <a:pt x="1329130" y="148252"/>
                </a:lnTo>
                <a:lnTo>
                  <a:pt x="1291206" y="123717"/>
                </a:lnTo>
                <a:lnTo>
                  <a:pt x="1251931" y="101179"/>
                </a:lnTo>
                <a:lnTo>
                  <a:pt x="1211377" y="80709"/>
                </a:lnTo>
                <a:lnTo>
                  <a:pt x="1169616" y="62378"/>
                </a:lnTo>
                <a:lnTo>
                  <a:pt x="1126719" y="46259"/>
                </a:lnTo>
                <a:lnTo>
                  <a:pt x="1082758" y="32423"/>
                </a:lnTo>
                <a:lnTo>
                  <a:pt x="1037804" y="20942"/>
                </a:lnTo>
                <a:lnTo>
                  <a:pt x="991931" y="11887"/>
                </a:lnTo>
                <a:lnTo>
                  <a:pt x="945208" y="5331"/>
                </a:lnTo>
                <a:lnTo>
                  <a:pt x="897708" y="1344"/>
                </a:lnTo>
                <a:lnTo>
                  <a:pt x="849502" y="0"/>
                </a:lnTo>
                <a:close/>
              </a:path>
            </a:pathLst>
          </a:custGeom>
          <a:solidFill>
            <a:schemeClr val="accent1"/>
          </a:solidFill>
          <a:effectLst>
            <a:outerShdw blurRad="63500" sx="102000" sy="102000" algn="ctr" rotWithShape="0">
              <a:prstClr val="black">
                <a:alpha val="40000"/>
              </a:prstClr>
            </a:outerShdw>
          </a:effectLst>
        </p:spPr>
        <p:txBody>
          <a:bodyPr wrap="square" lIns="0" tIns="0" rIns="0" bIns="0" rtlCol="0" anchor="ctr"/>
          <a:lstStyle/>
          <a:p>
            <a:pPr algn="ctr" defTabSz="685766"/>
            <a:r>
              <a:rPr lang="en-US" sz="600" b="1" cap="all" dirty="0">
                <a:solidFill>
                  <a:prstClr val="white"/>
                </a:solidFill>
                <a:latin typeface="Calibri"/>
                <a:cs typeface="Helvetica" panose="020B0604020202020204" pitchFamily="34" charset="0"/>
              </a:rPr>
              <a:t>Customer Enabling CAPABILITIES</a:t>
            </a:r>
            <a:endParaRPr sz="600" b="1" cap="all" dirty="0">
              <a:solidFill>
                <a:prstClr val="white"/>
              </a:solidFill>
              <a:latin typeface="Calibri"/>
              <a:cs typeface="Helvetica" panose="020B0604020202020204" pitchFamily="34" charset="0"/>
            </a:endParaRPr>
          </a:p>
        </p:txBody>
      </p:sp>
      <p:sp>
        <p:nvSpPr>
          <p:cNvPr id="49" name="TextBox 37"/>
          <p:cNvSpPr txBox="1"/>
          <p:nvPr/>
        </p:nvSpPr>
        <p:spPr>
          <a:xfrm>
            <a:off x="5873253" y="2786235"/>
            <a:ext cx="2756979" cy="369332"/>
          </a:xfrm>
          <a:prstGeom prst="rect">
            <a:avLst/>
          </a:prstGeom>
          <a:noFill/>
        </p:spPr>
        <p:txBody>
          <a:bodyPr wrap="square" lIns="91440" tIns="0" rIns="91440" bIns="0" rtlCol="0">
            <a:spAutoFit/>
          </a:bodyPr>
          <a:lstStyle/>
          <a:p>
            <a:pPr marL="469106" defTabSz="685766">
              <a:spcBef>
                <a:spcPts val="900"/>
              </a:spcBef>
            </a:pPr>
            <a:r>
              <a:rPr lang="en-US" sz="800" dirty="0"/>
              <a:t>Modified grade provides </a:t>
            </a:r>
            <a:r>
              <a:rPr lang="en-US" sz="800" b="1" dirty="0"/>
              <a:t>extraordinary easy flow </a:t>
            </a:r>
            <a:r>
              <a:rPr lang="en-US" sz="800" dirty="0"/>
              <a:t>and</a:t>
            </a:r>
            <a:r>
              <a:rPr lang="en-US" sz="800" b="1" dirty="0"/>
              <a:t> low warpage</a:t>
            </a:r>
            <a:r>
              <a:rPr lang="en-US" sz="800" dirty="0"/>
              <a:t> – ideal for highly complex designs and for optimizing material use</a:t>
            </a:r>
          </a:p>
        </p:txBody>
      </p:sp>
      <p:pic>
        <p:nvPicPr>
          <p:cNvPr id="30" name="Picture 29">
            <a:extLst>
              <a:ext uri="{FF2B5EF4-FFF2-40B4-BE49-F238E27FC236}">
                <a16:creationId xmlns:a16="http://schemas.microsoft.com/office/drawing/2014/main" id="{FFDA4879-ED47-47F0-ADCF-91E78FB6DF26}"/>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877920" y="1460610"/>
            <a:ext cx="1371600" cy="1035232"/>
          </a:xfrm>
          <a:prstGeom prst="rect">
            <a:avLst/>
          </a:prstGeom>
          <a:ln w="12700">
            <a:solidFill>
              <a:schemeClr val="bg1"/>
            </a:solidFill>
          </a:ln>
        </p:spPr>
      </p:pic>
      <p:sp>
        <p:nvSpPr>
          <p:cNvPr id="27" name="Footer Placeholder 38"/>
          <p:cNvSpPr>
            <a:spLocks noGrp="1"/>
          </p:cNvSpPr>
          <p:nvPr>
            <p:ph type="ftr" sz="quarter" idx="15"/>
          </p:nvPr>
        </p:nvSpPr>
        <p:spPr>
          <a:xfrm>
            <a:off x="390527" y="4767265"/>
            <a:ext cx="2367189" cy="273844"/>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4D4D4D"/>
                </a:solidFill>
                <a:effectLst/>
                <a:uLnTx/>
                <a:uFillTx/>
                <a:latin typeface="Calibri"/>
                <a:ea typeface="+mn-ea"/>
                <a:cs typeface="+mn-cs"/>
              </a:rPr>
              <a:t>External </a:t>
            </a:r>
          </a:p>
        </p:txBody>
      </p:sp>
    </p:spTree>
    <p:extLst>
      <p:ext uri="{BB962C8B-B14F-4D97-AF65-F5344CB8AC3E}">
        <p14:creationId xmlns:p14="http://schemas.microsoft.com/office/powerpoint/2010/main" val="22948077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1000" y="304800"/>
            <a:ext cx="6553200" cy="438150"/>
          </a:xfrm>
        </p:spPr>
        <p:txBody>
          <a:bodyPr/>
          <a:lstStyle/>
          <a:p>
            <a:r>
              <a:rPr lang="en-US" dirty="0"/>
              <a:t>Legal Disclaimer</a:t>
            </a:r>
          </a:p>
        </p:txBody>
      </p:sp>
      <p:sp>
        <p:nvSpPr>
          <p:cNvPr id="3" name="Inhaltsplatzhalter 2"/>
          <p:cNvSpPr>
            <a:spLocks noGrp="1"/>
          </p:cNvSpPr>
          <p:nvPr>
            <p:ph sz="quarter" idx="13"/>
          </p:nvPr>
        </p:nvSpPr>
        <p:spPr>
          <a:xfrm>
            <a:off x="390526" y="1245600"/>
            <a:ext cx="5232674" cy="3459749"/>
          </a:xfrm>
        </p:spPr>
        <p:txBody>
          <a:bodyPr>
            <a:noAutofit/>
          </a:bodyPr>
          <a:lstStyle/>
          <a:p>
            <a:pPr marL="0" indent="0">
              <a:spcBef>
                <a:spcPts val="300"/>
              </a:spcBef>
              <a:buNone/>
            </a:pPr>
            <a:r>
              <a:rPr lang="en-US" sz="700" dirty="0"/>
              <a:t>This publication was printed based on Celanese’s present state of knowledge, and Celanese undertakes no obligation to update it. Because conditions of product use are outside Celanese’s control, Celanese makes no warranties, express or implied, and assumes no liability in connection with any use of this information. Nothing herein is intended as a license to operate under or a recommendation to infringe any patents.</a:t>
            </a:r>
          </a:p>
          <a:p>
            <a:pPr marL="0" indent="0">
              <a:spcBef>
                <a:spcPts val="300"/>
              </a:spcBef>
              <a:buNone/>
            </a:pPr>
            <a:r>
              <a:rPr lang="en-US" sz="700" dirty="0"/>
              <a:t>Values shown are based on testing of laboratory test specimens and represent data that fall within the standard range of properties for natural material. These values alone do not represent a sufficient basis for any part design and are not intended for use in establishing maximum, minimum, or ranges of values for specification purposes. Colorants or other additives may cause significant variations in data values. Properties of molded parts can be influenced by a wide variety of factors including, but not limited to, material selection, additives, part design, processing conditions and environmental exposure. Any determination of the suitability of a particular material and part design for any use contemplated by the users and the manner of such use is the sole responsibility of the users, who must assure themselves that the material as subsequently processed meets the needs of their particular product or use.</a:t>
            </a:r>
          </a:p>
          <a:p>
            <a:pPr marL="0" indent="0">
              <a:spcBef>
                <a:spcPts val="300"/>
              </a:spcBef>
              <a:buNone/>
            </a:pPr>
            <a:r>
              <a:rPr lang="en-US" sz="700" dirty="0"/>
              <a:t>To the best of our knowledge, the information contained in this publication is accurate; however, we do not assume any liability whatsoever for the accuracy and completeness of such information. The information contained in this publication should not be construed as a promise or guarantee of specific properties of our products. It is the sole responsibility of the users to investigate whether any existing patents are infringed by the use of the materials mentioned in this publication. Moreover, there is a need to reduce human exposure to many materials to the lowest practical limits in view of possible adverse effects. To the extent that any hazards may have been mentioned in this publication, we neither suggest nor guarantee that such hazards are the only ones that exist. We recommend that persons intending to rely on any recommendation or to use any equipment, processing technique or material mentioned in this publication should satisfy themselves that they can meet all applicable safety and health standards. We strongly recommend that users seek and adhere to the manufacturer’s current instructions for handling each material they use, and entrust the handling of such material to adequately trained personnel only.</a:t>
            </a:r>
          </a:p>
          <a:p>
            <a:pPr marL="0" indent="0">
              <a:spcBef>
                <a:spcPts val="300"/>
              </a:spcBef>
              <a:buNone/>
            </a:pPr>
            <a:r>
              <a:rPr lang="en-US" sz="700" dirty="0"/>
              <a:t>The products mentioned herein are not intended for use in medical or dental implants.</a:t>
            </a:r>
          </a:p>
          <a:p>
            <a:pPr marL="0" indent="0">
              <a:spcBef>
                <a:spcPts val="300"/>
              </a:spcBef>
              <a:buNone/>
            </a:pPr>
            <a:r>
              <a:rPr lang="en-US" sz="700" dirty="0"/>
              <a:t>Celanese®, registered C-ball design and all other trademarks identified herein with ®, TM, SM, unless otherwise noted, are trademarks of Celanese or its affiliates.</a:t>
            </a:r>
          </a:p>
          <a:p>
            <a:pPr marL="0" indent="0">
              <a:spcBef>
                <a:spcPts val="300"/>
              </a:spcBef>
              <a:buNone/>
            </a:pPr>
            <a:r>
              <a:rPr lang="en-US" sz="700" dirty="0"/>
              <a:t>Hostaform® is a registered trademark of Hoechst GmbH, used by Celanese Corporation under license.</a:t>
            </a:r>
          </a:p>
          <a:p>
            <a:pPr marL="0" indent="0">
              <a:spcBef>
                <a:spcPts val="300"/>
              </a:spcBef>
              <a:buNone/>
            </a:pPr>
            <a:r>
              <a:rPr lang="en-US" sz="700" dirty="0"/>
              <a:t>Fortron® is a registered trademark of Fortron Industries LLC, used by Celanese Corporation under license.</a:t>
            </a:r>
          </a:p>
          <a:p>
            <a:pPr marL="0" indent="0">
              <a:spcBef>
                <a:spcPts val="300"/>
              </a:spcBef>
              <a:buNone/>
            </a:pPr>
            <a:endParaRPr lang="en-US" sz="800" dirty="0"/>
          </a:p>
          <a:p>
            <a:pPr marL="0" indent="0">
              <a:spcBef>
                <a:spcPts val="300"/>
              </a:spcBef>
              <a:buNone/>
            </a:pPr>
            <a:r>
              <a:rPr lang="en-US" sz="800" dirty="0"/>
              <a:t>© 2020 Celanese or its affiliates. All rights reserved. Published September 2020 </a:t>
            </a:r>
          </a:p>
        </p:txBody>
      </p:sp>
      <p:sp>
        <p:nvSpPr>
          <p:cNvPr id="22" name="Textplatzhalter 21"/>
          <p:cNvSpPr>
            <a:spLocks noGrp="1"/>
          </p:cNvSpPr>
          <p:nvPr>
            <p:ph type="body" sz="quarter" idx="15"/>
          </p:nvPr>
        </p:nvSpPr>
        <p:spPr>
          <a:xfrm>
            <a:off x="381000" y="892175"/>
            <a:ext cx="5393724" cy="438150"/>
          </a:xfrm>
        </p:spPr>
        <p:txBody>
          <a:bodyPr>
            <a:normAutofit/>
          </a:bodyPr>
          <a:lstStyle/>
          <a:p>
            <a:r>
              <a:rPr lang="en-US" dirty="0">
                <a:latin typeface="+mn-lt"/>
              </a:rPr>
              <a:t>Disclaimer &amp; Notice to Users</a:t>
            </a:r>
          </a:p>
        </p:txBody>
      </p:sp>
      <p:sp>
        <p:nvSpPr>
          <p:cNvPr id="28" name="Inhaltsplatzhalter 12"/>
          <p:cNvSpPr txBox="1">
            <a:spLocks/>
          </p:cNvSpPr>
          <p:nvPr/>
        </p:nvSpPr>
        <p:spPr>
          <a:xfrm>
            <a:off x="5922952" y="1363663"/>
            <a:ext cx="2840047" cy="3351212"/>
          </a:xfrm>
          <a:prstGeom prst="rect">
            <a:avLst/>
          </a:prstGeom>
        </p:spPr>
        <p:txBody>
          <a:bodyPr vert="horz" lIns="0" tIns="0" rIns="0" bIns="0" rtlCol="0">
            <a:normAutofit lnSpcReduction="10000"/>
          </a:bodyPr>
          <a:lstStyle>
            <a:lvl1pPr marL="268288" indent="-268288" algn="l" defTabSz="914400" rtl="0" eaLnBrk="1" latinLnBrk="0" hangingPunct="1">
              <a:spcBef>
                <a:spcPts val="600"/>
              </a:spcBef>
              <a:buClr>
                <a:schemeClr val="tx2"/>
              </a:buClr>
              <a:buSzPct val="90000"/>
              <a:buFont typeface="Calibri" pitchFamily="34" charset="0"/>
              <a:buChar char="►"/>
              <a:defRPr sz="16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4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1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1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endParaRPr kumimoji="0" lang="en-US" sz="1400" b="1" i="0" u="none" strike="noStrike" kern="1200" cap="none" spc="0" normalizeH="0" baseline="0" noProof="0" dirty="0">
              <a:ln>
                <a:noFill/>
              </a:ln>
              <a:solidFill>
                <a:srgbClr val="4D4D4D"/>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lang="en-US" sz="1400" b="1" dirty="0">
                <a:latin typeface="Calibri"/>
              </a:rPr>
              <a:t>healthcare@Celanese.com</a:t>
            </a: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endParaRPr kumimoji="0" lang="en-US" sz="1100" b="1" i="0" u="none" strike="noStrike" kern="1200" cap="none" spc="0" normalizeH="0" baseline="0" noProof="0" dirty="0">
              <a:ln>
                <a:noFill/>
              </a:ln>
              <a:solidFill>
                <a:srgbClr val="4D4D4D"/>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1" i="0" u="none" strike="noStrike" kern="1200" cap="none" spc="0" normalizeH="0" baseline="0" noProof="0" dirty="0">
                <a:ln>
                  <a:noFill/>
                </a:ln>
                <a:solidFill>
                  <a:srgbClr val="4D4D4D"/>
                </a:solidFill>
                <a:effectLst/>
                <a:uLnTx/>
                <a:uFillTx/>
                <a:latin typeface="Calibri"/>
                <a:ea typeface="+mn-ea"/>
                <a:cs typeface="+mn-cs"/>
              </a:rPr>
              <a:t>Americas</a:t>
            </a: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0" i="0" u="none" strike="noStrike" kern="1200" cap="none" spc="0" normalizeH="0" baseline="0" noProof="0" dirty="0">
                <a:ln>
                  <a:noFill/>
                </a:ln>
                <a:solidFill>
                  <a:srgbClr val="4D4D4D"/>
                </a:solidFill>
                <a:effectLst/>
                <a:uLnTx/>
                <a:uFillTx/>
                <a:latin typeface="Calibri"/>
                <a:ea typeface="+mn-ea"/>
                <a:cs typeface="+mn-cs"/>
              </a:rPr>
              <a:t>8040 Dixie Highway, Florence, KY 41042 USA</a:t>
            </a: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0" i="0" u="none" strike="noStrike" kern="1200" cap="none" spc="0" normalizeH="0" baseline="0" noProof="0" dirty="0">
                <a:ln>
                  <a:noFill/>
                </a:ln>
                <a:solidFill>
                  <a:srgbClr val="4D4D4D"/>
                </a:solidFill>
                <a:effectLst/>
                <a:uLnTx/>
                <a:uFillTx/>
                <a:latin typeface="Calibri"/>
                <a:ea typeface="+mn-ea"/>
                <a:cs typeface="+mn-cs"/>
              </a:rPr>
              <a:t>Product Information Service</a:t>
            </a:r>
            <a:br>
              <a:rPr kumimoji="0" lang="en-US" sz="1100" b="0" i="0" u="none" strike="noStrike" kern="1200" cap="none" spc="0" normalizeH="0" baseline="0" noProof="0" dirty="0">
                <a:ln>
                  <a:noFill/>
                </a:ln>
                <a:solidFill>
                  <a:srgbClr val="4D4D4D"/>
                </a:solidFill>
                <a:effectLst/>
                <a:uLnTx/>
                <a:uFillTx/>
                <a:latin typeface="Calibri"/>
                <a:ea typeface="+mn-ea"/>
                <a:cs typeface="+mn-cs"/>
              </a:rPr>
            </a:br>
            <a:r>
              <a:rPr kumimoji="0" lang="en-US" sz="1100" b="0" i="0" u="none" strike="noStrike" kern="1200" cap="none" spc="0" normalizeH="0" baseline="0" noProof="0" dirty="0">
                <a:ln>
                  <a:noFill/>
                </a:ln>
                <a:solidFill>
                  <a:srgbClr val="F05500"/>
                </a:solidFill>
                <a:effectLst/>
                <a:uLnTx/>
                <a:uFillTx/>
                <a:latin typeface="Calibri"/>
                <a:ea typeface="+mn-ea"/>
                <a:cs typeface="+mn-cs"/>
              </a:rPr>
              <a:t>t</a:t>
            </a:r>
            <a:r>
              <a:rPr kumimoji="0" lang="en-US" sz="1100" b="0" i="0" u="none" strike="noStrike" kern="1200" cap="none" spc="0" normalizeH="0" baseline="0" noProof="0" dirty="0">
                <a:ln>
                  <a:noFill/>
                </a:ln>
                <a:solidFill>
                  <a:srgbClr val="4D4D4D"/>
                </a:solidFill>
                <a:effectLst/>
                <a:uLnTx/>
                <a:uFillTx/>
                <a:latin typeface="Calibri"/>
                <a:ea typeface="+mn-ea"/>
                <a:cs typeface="+mn-cs"/>
              </a:rPr>
              <a:t>: +1-800-833-4882 </a:t>
            </a:r>
            <a:r>
              <a:rPr kumimoji="0" lang="en-US" sz="1100" b="0" i="0" u="none" strike="noStrike" kern="1200" cap="none" spc="0" normalizeH="0" baseline="0" noProof="0" dirty="0">
                <a:ln>
                  <a:noFill/>
                </a:ln>
                <a:solidFill>
                  <a:srgbClr val="F05500"/>
                </a:solidFill>
                <a:effectLst/>
                <a:uLnTx/>
                <a:uFillTx/>
                <a:latin typeface="Calibri"/>
                <a:ea typeface="+mn-ea"/>
                <a:cs typeface="+mn-cs"/>
              </a:rPr>
              <a:t>t</a:t>
            </a:r>
            <a:r>
              <a:rPr kumimoji="0" lang="en-US" sz="1100" b="0" i="0" u="none" strike="noStrike" kern="1200" cap="none" spc="0" normalizeH="0" baseline="0" noProof="0" dirty="0">
                <a:ln>
                  <a:noFill/>
                </a:ln>
                <a:solidFill>
                  <a:srgbClr val="4D4D4D"/>
                </a:solidFill>
                <a:effectLst/>
                <a:uLnTx/>
                <a:uFillTx/>
                <a:latin typeface="Calibri"/>
                <a:ea typeface="+mn-ea"/>
                <a:cs typeface="+mn-cs"/>
              </a:rPr>
              <a:t>: +1-859-372-3244</a:t>
            </a: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0" i="0" u="none" strike="noStrike" kern="1200" cap="none" spc="0" normalizeH="0" baseline="0" noProof="0" dirty="0">
                <a:ln>
                  <a:noFill/>
                </a:ln>
                <a:solidFill>
                  <a:srgbClr val="4D4D4D"/>
                </a:solidFill>
                <a:effectLst/>
                <a:uLnTx/>
                <a:uFillTx/>
                <a:latin typeface="Calibri"/>
                <a:ea typeface="+mn-ea"/>
                <a:cs typeface="+mn-cs"/>
              </a:rPr>
              <a:t>Customer Service</a:t>
            </a:r>
            <a:br>
              <a:rPr kumimoji="0" lang="en-US" sz="1100" b="0" i="0" u="none" strike="noStrike" kern="1200" cap="none" spc="0" normalizeH="0" baseline="0" noProof="0" dirty="0">
                <a:ln>
                  <a:noFill/>
                </a:ln>
                <a:solidFill>
                  <a:srgbClr val="4D4D4D"/>
                </a:solidFill>
                <a:effectLst/>
                <a:uLnTx/>
                <a:uFillTx/>
                <a:latin typeface="Calibri"/>
                <a:ea typeface="+mn-ea"/>
                <a:cs typeface="+mn-cs"/>
              </a:rPr>
            </a:br>
            <a:r>
              <a:rPr kumimoji="0" lang="en-US" sz="1100" b="0" i="0" u="none" strike="noStrike" kern="1200" cap="none" spc="0" normalizeH="0" baseline="0" noProof="0" dirty="0">
                <a:ln>
                  <a:noFill/>
                </a:ln>
                <a:solidFill>
                  <a:srgbClr val="F05500"/>
                </a:solidFill>
                <a:effectLst/>
                <a:uLnTx/>
                <a:uFillTx/>
                <a:latin typeface="Calibri"/>
                <a:ea typeface="+mn-ea"/>
                <a:cs typeface="+mn-cs"/>
              </a:rPr>
              <a:t>t</a:t>
            </a:r>
            <a:r>
              <a:rPr kumimoji="0" lang="en-US" sz="1100" b="0" i="0" u="none" strike="noStrike" kern="1200" cap="none" spc="0" normalizeH="0" baseline="0" noProof="0" dirty="0">
                <a:ln>
                  <a:noFill/>
                </a:ln>
                <a:solidFill>
                  <a:srgbClr val="4D4D4D"/>
                </a:solidFill>
                <a:effectLst/>
                <a:uLnTx/>
                <a:uFillTx/>
                <a:latin typeface="Calibri"/>
                <a:ea typeface="+mn-ea"/>
                <a:cs typeface="+mn-cs"/>
              </a:rPr>
              <a:t>: +1-800-526-4960 </a:t>
            </a:r>
            <a:r>
              <a:rPr kumimoji="0" lang="en-US" sz="1100" b="0" i="0" u="none" strike="noStrike" kern="1200" cap="none" spc="0" normalizeH="0" baseline="0" noProof="0" dirty="0">
                <a:ln>
                  <a:noFill/>
                </a:ln>
                <a:solidFill>
                  <a:srgbClr val="F05500"/>
                </a:solidFill>
                <a:effectLst/>
                <a:uLnTx/>
                <a:uFillTx/>
                <a:latin typeface="Calibri"/>
                <a:ea typeface="+mn-ea"/>
                <a:cs typeface="+mn-cs"/>
              </a:rPr>
              <a:t>t</a:t>
            </a:r>
            <a:r>
              <a:rPr kumimoji="0" lang="en-US" sz="1100" b="0" i="0" u="none" strike="noStrike" kern="1200" cap="none" spc="0" normalizeH="0" baseline="0" noProof="0" dirty="0">
                <a:ln>
                  <a:noFill/>
                </a:ln>
                <a:solidFill>
                  <a:srgbClr val="4D4D4D"/>
                </a:solidFill>
                <a:effectLst/>
                <a:uLnTx/>
                <a:uFillTx/>
                <a:latin typeface="Calibri"/>
                <a:ea typeface="+mn-ea"/>
                <a:cs typeface="+mn-cs"/>
              </a:rPr>
              <a:t>: +1-859-372-3214</a:t>
            </a:r>
            <a:br>
              <a:rPr kumimoji="0" lang="en-US" sz="1100" b="0" i="0" u="none" strike="noStrike" kern="1200" cap="none" spc="0" normalizeH="0" baseline="0" noProof="0" dirty="0">
                <a:ln>
                  <a:noFill/>
                </a:ln>
                <a:solidFill>
                  <a:srgbClr val="4D4D4D"/>
                </a:solidFill>
                <a:effectLst/>
                <a:uLnTx/>
                <a:uFillTx/>
                <a:latin typeface="Calibri"/>
                <a:ea typeface="+mn-ea"/>
                <a:cs typeface="+mn-cs"/>
              </a:rPr>
            </a:br>
            <a:endParaRPr kumimoji="0" lang="en-US" sz="1100" b="0" i="0" u="none" strike="noStrike" kern="1200" cap="none" spc="0" normalizeH="0" baseline="0" noProof="0" dirty="0">
              <a:ln>
                <a:noFill/>
              </a:ln>
              <a:solidFill>
                <a:srgbClr val="4D4D4D"/>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1" i="0" u="none" strike="noStrike" kern="1200" cap="none" spc="0" normalizeH="0" baseline="0" noProof="0" dirty="0">
                <a:ln>
                  <a:noFill/>
                </a:ln>
                <a:solidFill>
                  <a:srgbClr val="4D4D4D"/>
                </a:solidFill>
                <a:effectLst/>
                <a:uLnTx/>
                <a:uFillTx/>
                <a:latin typeface="Calibri"/>
                <a:ea typeface="+mn-ea"/>
                <a:cs typeface="+mn-cs"/>
              </a:rPr>
              <a:t>Europe</a:t>
            </a: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0" i="0" u="none" strike="noStrike" kern="1200" cap="none" spc="0" normalizeH="0" baseline="0" noProof="0" dirty="0">
                <a:ln>
                  <a:noFill/>
                </a:ln>
                <a:solidFill>
                  <a:srgbClr val="4D4D4D"/>
                </a:solidFill>
                <a:effectLst/>
                <a:uLnTx/>
                <a:uFillTx/>
                <a:latin typeface="Calibri"/>
                <a:ea typeface="+mn-ea"/>
                <a:cs typeface="+mn-cs"/>
              </a:rPr>
              <a:t>Am Unisys-Park 1, 65843 </a:t>
            </a:r>
            <a:r>
              <a:rPr kumimoji="0" lang="en-US" sz="1100" b="0" i="0" u="none" strike="noStrike" kern="1200" cap="none" spc="0" normalizeH="0" baseline="0" noProof="0" dirty="0" err="1">
                <a:ln>
                  <a:noFill/>
                </a:ln>
                <a:solidFill>
                  <a:srgbClr val="4D4D4D"/>
                </a:solidFill>
                <a:effectLst/>
                <a:uLnTx/>
                <a:uFillTx/>
                <a:latin typeface="Calibri"/>
                <a:ea typeface="+mn-ea"/>
                <a:cs typeface="+mn-cs"/>
              </a:rPr>
              <a:t>Sulzbach</a:t>
            </a:r>
            <a:r>
              <a:rPr kumimoji="0" lang="en-US" sz="1100" b="0" i="0" u="none" strike="noStrike" kern="1200" cap="none" spc="0" normalizeH="0" baseline="0" noProof="0" dirty="0">
                <a:ln>
                  <a:noFill/>
                </a:ln>
                <a:solidFill>
                  <a:srgbClr val="4D4D4D"/>
                </a:solidFill>
                <a:effectLst/>
                <a:uLnTx/>
                <a:uFillTx/>
                <a:latin typeface="Calibri"/>
                <a:ea typeface="+mn-ea"/>
                <a:cs typeface="+mn-cs"/>
              </a:rPr>
              <a:t>, Germany</a:t>
            </a: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0" i="0" u="none" strike="noStrike" kern="1200" cap="none" spc="0" normalizeH="0" baseline="0" noProof="0" dirty="0">
                <a:ln>
                  <a:noFill/>
                </a:ln>
                <a:solidFill>
                  <a:srgbClr val="4D4D4D"/>
                </a:solidFill>
                <a:effectLst/>
                <a:uLnTx/>
                <a:uFillTx/>
                <a:latin typeface="Calibri"/>
                <a:ea typeface="+mn-ea"/>
                <a:cs typeface="+mn-cs"/>
              </a:rPr>
              <a:t>Product Information Service</a:t>
            </a:r>
            <a:br>
              <a:rPr kumimoji="0" lang="en-US" sz="1100" b="0" i="0" u="none" strike="noStrike" kern="1200" cap="none" spc="0" normalizeH="0" baseline="0" noProof="0" dirty="0">
                <a:ln>
                  <a:noFill/>
                </a:ln>
                <a:solidFill>
                  <a:srgbClr val="4D4D4D"/>
                </a:solidFill>
                <a:effectLst/>
                <a:uLnTx/>
                <a:uFillTx/>
                <a:latin typeface="Calibri"/>
                <a:ea typeface="+mn-ea"/>
                <a:cs typeface="+mn-cs"/>
              </a:rPr>
            </a:br>
            <a:r>
              <a:rPr kumimoji="0" lang="en-US" sz="1100" b="0" i="0" u="none" strike="noStrike" kern="1200" cap="none" spc="0" normalizeH="0" baseline="0" noProof="0" dirty="0">
                <a:ln>
                  <a:noFill/>
                </a:ln>
                <a:solidFill>
                  <a:srgbClr val="F05500"/>
                </a:solidFill>
                <a:effectLst/>
                <a:uLnTx/>
                <a:uFillTx/>
                <a:latin typeface="Calibri"/>
                <a:ea typeface="+mn-ea"/>
                <a:cs typeface="+mn-cs"/>
              </a:rPr>
              <a:t>t</a:t>
            </a:r>
            <a:r>
              <a:rPr kumimoji="0" lang="en-US" sz="1100" b="0" i="0" u="none" strike="noStrike" kern="1200" cap="none" spc="0" normalizeH="0" baseline="0" noProof="0" dirty="0">
                <a:ln>
                  <a:noFill/>
                </a:ln>
                <a:solidFill>
                  <a:srgbClr val="4D4D4D"/>
                </a:solidFill>
                <a:effectLst/>
                <a:uLnTx/>
                <a:uFillTx/>
                <a:latin typeface="Calibri"/>
                <a:ea typeface="+mn-ea"/>
                <a:cs typeface="+mn-cs"/>
              </a:rPr>
              <a:t>: +(00)-800-86427-531 </a:t>
            </a:r>
            <a:r>
              <a:rPr kumimoji="0" lang="en-US" sz="1100" b="0" i="0" u="none" strike="noStrike" kern="1200" cap="none" spc="0" normalizeH="0" baseline="0" noProof="0" dirty="0">
                <a:ln>
                  <a:noFill/>
                </a:ln>
                <a:solidFill>
                  <a:srgbClr val="F05500"/>
                </a:solidFill>
                <a:effectLst/>
                <a:uLnTx/>
                <a:uFillTx/>
                <a:latin typeface="Calibri"/>
                <a:ea typeface="+mn-ea"/>
                <a:cs typeface="+mn-cs"/>
              </a:rPr>
              <a:t>t</a:t>
            </a:r>
            <a:r>
              <a:rPr kumimoji="0" lang="en-US" sz="1100" b="0" i="0" u="none" strike="noStrike" kern="1200" cap="none" spc="0" normalizeH="0" baseline="0" noProof="0" dirty="0">
                <a:ln>
                  <a:noFill/>
                </a:ln>
                <a:solidFill>
                  <a:srgbClr val="4D4D4D"/>
                </a:solidFill>
                <a:effectLst/>
                <a:uLnTx/>
                <a:uFillTx/>
                <a:latin typeface="Calibri"/>
                <a:ea typeface="+mn-ea"/>
                <a:cs typeface="+mn-cs"/>
              </a:rPr>
              <a:t>: +49-(0)-69-45009-1011</a:t>
            </a: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endParaRPr kumimoji="0" lang="en-US" sz="1100" b="0" i="0" u="none" strike="noStrike" kern="1200" cap="none" spc="0" normalizeH="0" baseline="0" noProof="0" dirty="0">
              <a:ln>
                <a:noFill/>
              </a:ln>
              <a:solidFill>
                <a:srgbClr val="F055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1" i="0" u="none" strike="noStrike" kern="1200" cap="none" spc="0" normalizeH="0" baseline="0" noProof="0" dirty="0">
                <a:ln>
                  <a:noFill/>
                </a:ln>
                <a:solidFill>
                  <a:srgbClr val="4D4D4D"/>
                </a:solidFill>
                <a:effectLst/>
                <a:uLnTx/>
                <a:uFillTx/>
                <a:latin typeface="Calibri"/>
                <a:ea typeface="+mn-ea"/>
                <a:cs typeface="+mn-cs"/>
              </a:rPr>
              <a:t>Asia</a:t>
            </a: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0" i="0" u="none" strike="noStrike" kern="1200" cap="none" spc="0" normalizeH="0" baseline="0" noProof="0" dirty="0">
                <a:ln>
                  <a:noFill/>
                </a:ln>
                <a:solidFill>
                  <a:srgbClr val="4D4D4D"/>
                </a:solidFill>
                <a:effectLst/>
                <a:uLnTx/>
                <a:uFillTx/>
                <a:latin typeface="Calibri"/>
                <a:ea typeface="+mn-ea"/>
                <a:cs typeface="+mn-cs"/>
              </a:rPr>
              <a:t>4560 </a:t>
            </a:r>
            <a:r>
              <a:rPr kumimoji="0" lang="en-US" sz="1100" b="0" i="0" u="none" strike="noStrike" kern="1200" cap="none" spc="0" normalizeH="0" baseline="0" noProof="0" dirty="0" err="1">
                <a:ln>
                  <a:noFill/>
                </a:ln>
                <a:solidFill>
                  <a:srgbClr val="4D4D4D"/>
                </a:solidFill>
                <a:effectLst/>
                <a:uLnTx/>
                <a:uFillTx/>
                <a:latin typeface="Calibri"/>
                <a:ea typeface="+mn-ea"/>
                <a:cs typeface="+mn-cs"/>
              </a:rPr>
              <a:t>Jinke</a:t>
            </a:r>
            <a:r>
              <a:rPr kumimoji="0" lang="en-US" sz="1100" b="0" i="0" u="none" strike="noStrike" kern="1200" cap="none" spc="0" normalizeH="0" baseline="0" noProof="0" dirty="0">
                <a:ln>
                  <a:noFill/>
                </a:ln>
                <a:solidFill>
                  <a:srgbClr val="4D4D4D"/>
                </a:solidFill>
                <a:effectLst/>
                <a:uLnTx/>
                <a:uFillTx/>
                <a:latin typeface="Calibri"/>
                <a:ea typeface="+mn-ea"/>
                <a:cs typeface="+mn-cs"/>
              </a:rPr>
              <a:t> Road, Zhang Jiang Hi Tech Park</a:t>
            </a:r>
            <a:br>
              <a:rPr kumimoji="0" lang="en-US" sz="1100" b="0" i="0" u="none" strike="noStrike" kern="1200" cap="none" spc="0" normalizeH="0" baseline="0" noProof="0" dirty="0">
                <a:ln>
                  <a:noFill/>
                </a:ln>
                <a:solidFill>
                  <a:srgbClr val="4D4D4D"/>
                </a:solidFill>
                <a:effectLst/>
                <a:uLnTx/>
                <a:uFillTx/>
                <a:latin typeface="Calibri"/>
                <a:ea typeface="+mn-ea"/>
                <a:cs typeface="+mn-cs"/>
              </a:rPr>
            </a:br>
            <a:r>
              <a:rPr kumimoji="0" lang="en-US" sz="1100" b="0" i="0" u="none" strike="noStrike" kern="1200" cap="none" spc="0" normalizeH="0" baseline="0" noProof="0" dirty="0">
                <a:ln>
                  <a:noFill/>
                </a:ln>
                <a:solidFill>
                  <a:srgbClr val="4D4D4D"/>
                </a:solidFill>
                <a:effectLst/>
                <a:uLnTx/>
                <a:uFillTx/>
                <a:latin typeface="Calibri"/>
                <a:ea typeface="+mn-ea"/>
                <a:cs typeface="+mn-cs"/>
              </a:rPr>
              <a:t>Shanghai 201203 PRC</a:t>
            </a: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r>
              <a:rPr kumimoji="0" lang="en-US" sz="1100" b="0" i="0" u="none" strike="noStrike" kern="1200" cap="none" spc="0" normalizeH="0" baseline="0" noProof="0" dirty="0">
                <a:ln>
                  <a:noFill/>
                </a:ln>
                <a:solidFill>
                  <a:srgbClr val="4D4D4D"/>
                </a:solidFill>
                <a:effectLst/>
                <a:uLnTx/>
                <a:uFillTx/>
                <a:latin typeface="Calibri"/>
                <a:ea typeface="+mn-ea"/>
                <a:cs typeface="+mn-cs"/>
              </a:rPr>
              <a:t>Customer Service</a:t>
            </a:r>
            <a:br>
              <a:rPr kumimoji="0" lang="en-US" sz="1100" b="0" i="0" u="none" strike="noStrike" kern="1200" cap="none" spc="0" normalizeH="0" baseline="0" noProof="0" dirty="0">
                <a:ln>
                  <a:noFill/>
                </a:ln>
                <a:solidFill>
                  <a:srgbClr val="4D4D4D"/>
                </a:solidFill>
                <a:effectLst/>
                <a:uLnTx/>
                <a:uFillTx/>
                <a:latin typeface="Calibri"/>
                <a:ea typeface="+mn-ea"/>
                <a:cs typeface="+mn-cs"/>
              </a:rPr>
            </a:br>
            <a:r>
              <a:rPr kumimoji="0" lang="en-US" sz="1100" b="0" i="0" u="none" strike="noStrike" kern="1200" cap="none" spc="0" normalizeH="0" baseline="0" noProof="0" dirty="0">
                <a:ln>
                  <a:noFill/>
                </a:ln>
                <a:solidFill>
                  <a:srgbClr val="F05500"/>
                </a:solidFill>
                <a:effectLst/>
                <a:uLnTx/>
                <a:uFillTx/>
                <a:latin typeface="Calibri"/>
                <a:ea typeface="+mn-ea"/>
                <a:cs typeface="+mn-cs"/>
              </a:rPr>
              <a:t>t</a:t>
            </a:r>
            <a:r>
              <a:rPr kumimoji="0" lang="en-US" sz="1100" b="0" i="0" u="none" strike="noStrike" kern="1200" cap="none" spc="0" normalizeH="0" baseline="0" noProof="0" dirty="0">
                <a:ln>
                  <a:noFill/>
                </a:ln>
                <a:solidFill>
                  <a:srgbClr val="4D4D4D"/>
                </a:solidFill>
                <a:effectLst/>
                <a:uLnTx/>
                <a:uFillTx/>
                <a:latin typeface="Calibri"/>
                <a:ea typeface="+mn-ea"/>
                <a:cs typeface="+mn-cs"/>
              </a:rPr>
              <a:t>: +86 21 3861 9266 </a:t>
            </a:r>
            <a:r>
              <a:rPr kumimoji="0" lang="en-US" sz="1100" b="0" i="0" u="none" strike="noStrike" kern="1200" cap="none" spc="0" normalizeH="0" baseline="0" noProof="0" dirty="0">
                <a:ln>
                  <a:noFill/>
                </a:ln>
                <a:solidFill>
                  <a:srgbClr val="F05500"/>
                </a:solidFill>
                <a:effectLst/>
                <a:uLnTx/>
                <a:uFillTx/>
                <a:latin typeface="Calibri"/>
                <a:ea typeface="+mn-ea"/>
                <a:cs typeface="+mn-cs"/>
              </a:rPr>
              <a:t>f</a:t>
            </a:r>
            <a:r>
              <a:rPr kumimoji="0" lang="en-US" sz="1100" b="0" i="0" u="none" strike="noStrike" kern="1200" cap="none" spc="0" normalizeH="0" baseline="0" noProof="0" dirty="0">
                <a:ln>
                  <a:noFill/>
                </a:ln>
                <a:solidFill>
                  <a:srgbClr val="4D4D4D"/>
                </a:solidFill>
                <a:effectLst/>
                <a:uLnTx/>
                <a:uFillTx/>
                <a:latin typeface="Calibri"/>
                <a:ea typeface="+mn-ea"/>
                <a:cs typeface="+mn-cs"/>
              </a:rPr>
              <a:t>: +86 21 3861 9599</a:t>
            </a:r>
            <a:br>
              <a:rPr kumimoji="0" lang="en-US" sz="1100" b="0" i="0" u="none" strike="noStrike" kern="1200" cap="none" spc="0" normalizeH="0" baseline="0" noProof="0" dirty="0">
                <a:ln>
                  <a:noFill/>
                </a:ln>
                <a:solidFill>
                  <a:srgbClr val="4D4D4D"/>
                </a:solidFill>
                <a:effectLst/>
                <a:uLnTx/>
                <a:uFillTx/>
                <a:latin typeface="Calibri"/>
                <a:ea typeface="+mn-ea"/>
                <a:cs typeface="+mn-cs"/>
              </a:rPr>
            </a:br>
            <a:endParaRPr kumimoji="0" lang="en-US" sz="1100" b="0" i="0" u="none" strike="noStrike" kern="1200" cap="none" spc="0" normalizeH="0" baseline="0" noProof="0" dirty="0">
              <a:ln>
                <a:noFill/>
              </a:ln>
              <a:solidFill>
                <a:srgbClr val="4D4D4D"/>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
                <a:srgbClr val="F05500"/>
              </a:buClr>
              <a:buSzPct val="90000"/>
              <a:buFont typeface="Calibri" pitchFamily="34" charset="0"/>
              <a:buNone/>
              <a:tabLst/>
              <a:defRPr/>
            </a:pPr>
            <a:endParaRPr kumimoji="0" lang="en-US" sz="1100" b="0" i="0" u="none" strike="noStrike" kern="1200" cap="none" spc="0" normalizeH="0" baseline="0" noProof="0" dirty="0">
              <a:ln>
                <a:noFill/>
              </a:ln>
              <a:solidFill>
                <a:srgbClr val="4D4D4D"/>
              </a:solidFill>
              <a:effectLst/>
              <a:uLnTx/>
              <a:uFillTx/>
              <a:latin typeface="Calibri"/>
              <a:ea typeface="+mn-ea"/>
              <a:cs typeface="+mn-cs"/>
            </a:endParaRPr>
          </a:p>
        </p:txBody>
      </p:sp>
      <p:sp>
        <p:nvSpPr>
          <p:cNvPr id="29" name="Textplatzhalter 14"/>
          <p:cNvSpPr txBox="1">
            <a:spLocks/>
          </p:cNvSpPr>
          <p:nvPr/>
        </p:nvSpPr>
        <p:spPr>
          <a:xfrm>
            <a:off x="5922952" y="892175"/>
            <a:ext cx="2840047" cy="438150"/>
          </a:xfrm>
          <a:prstGeom prst="rect">
            <a:avLst/>
          </a:prstGeom>
        </p:spPr>
        <p:txBody>
          <a:bodyPr vert="horz" lIns="0" tIns="0" rIns="0" bIns="0" rtlCol="0" anchor="ctr">
            <a:normAutofit/>
          </a:bodyPr>
          <a:lstStyle>
            <a:lvl1pPr marL="0" indent="0" algn="l" defTabSz="914400" rtl="0" eaLnBrk="1" latinLnBrk="0" hangingPunct="1">
              <a:spcBef>
                <a:spcPts val="600"/>
              </a:spcBef>
              <a:buClr>
                <a:schemeClr val="tx2"/>
              </a:buClr>
              <a:buSzPct val="90000"/>
              <a:buFont typeface="Calibri" pitchFamily="34" charset="0"/>
              <a:buNone/>
              <a:defRPr sz="1600" b="0" kern="1200">
                <a:solidFill>
                  <a:schemeClr val="tx2"/>
                </a:solidFill>
                <a:latin typeface="Calibri" panose="020B0604030504040204" pitchFamily="34" charset="0"/>
                <a:ea typeface="Calibri" panose="020B0604030504040204" pitchFamily="34" charset="0"/>
                <a:cs typeface="Calibri" panose="020B0604030504040204" pitchFamily="34" charset="0"/>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F05500"/>
              </a:buClr>
              <a:buSzPct val="90000"/>
              <a:buFont typeface="Calibri" pitchFamily="34" charset="0"/>
              <a:buNone/>
              <a:tabLst/>
              <a:defRPr/>
            </a:pPr>
            <a:r>
              <a:rPr kumimoji="0" lang="en-US" sz="1600" b="0" i="0" u="none" strike="noStrike" kern="1200" cap="none" spc="0" normalizeH="0" baseline="0" noProof="0" dirty="0">
                <a:ln>
                  <a:noFill/>
                </a:ln>
                <a:solidFill>
                  <a:srgbClr val="F05500"/>
                </a:solidFill>
                <a:effectLst/>
                <a:uLnTx/>
                <a:uFillTx/>
                <a:latin typeface="Calibri"/>
                <a:cs typeface="Calibri" panose="020B0604030504040204" pitchFamily="34" charset="0"/>
              </a:rPr>
              <a:t>Contact Information</a:t>
            </a:r>
          </a:p>
        </p:txBody>
      </p:sp>
      <p:sp>
        <p:nvSpPr>
          <p:cNvPr id="10" name="Rectangle 9"/>
          <p:cNvSpPr/>
          <p:nvPr/>
        </p:nvSpPr>
        <p:spPr>
          <a:xfrm>
            <a:off x="8370205" y="4755803"/>
            <a:ext cx="250390" cy="246221"/>
          </a:xfrm>
          <a:prstGeom prst="rect">
            <a:avLst/>
          </a:prstGeom>
        </p:spPr>
        <p:txBody>
          <a:bodyPr vert="horz" lIns="0" tIns="0" rIns="0" bIns="0" rtlCol="0" anchor="ctr"/>
          <a:lstStyle/>
          <a:p>
            <a:pPr algn="r"/>
            <a:fld id="{90223409-09FC-4660-A923-5454ABA2BCF5}" type="slidenum">
              <a:rPr lang="en-US" sz="750" smtClean="0">
                <a:solidFill>
                  <a:srgbClr val="4D4D4D"/>
                </a:solidFill>
                <a:latin typeface="Calibri"/>
                <a:cs typeface="Calibri" panose="020B0604020202020204" pitchFamily="34" charset="0"/>
              </a:rPr>
              <a:pPr algn="r"/>
              <a:t>13</a:t>
            </a:fld>
            <a:endParaRPr lang="en-US" sz="750" dirty="0">
              <a:solidFill>
                <a:srgbClr val="4D4D4D"/>
              </a:solidFill>
              <a:latin typeface="Calibri"/>
              <a:cs typeface="Calibri" panose="020B0604020202020204" pitchFamily="34" charset="0"/>
            </a:endParaRPr>
          </a:p>
        </p:txBody>
      </p:sp>
    </p:spTree>
    <p:extLst>
      <p:ext uri="{BB962C8B-B14F-4D97-AF65-F5344CB8AC3E}">
        <p14:creationId xmlns:p14="http://schemas.microsoft.com/office/powerpoint/2010/main" val="36425800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49D90E8D-F446-447F-9649-29A93A765E1B}"/>
              </a:ext>
            </a:extLst>
          </p:cNvPr>
          <p:cNvPicPr>
            <a:picLocks noChangeAspect="1"/>
          </p:cNvPicPr>
          <p:nvPr/>
        </p:nvPicPr>
        <p:blipFill rotWithShape="1">
          <a:blip r:embed="rId3"/>
          <a:srcRect l="13643" t="7619" r="13928" b="20053"/>
          <a:stretch/>
        </p:blipFill>
        <p:spPr>
          <a:xfrm flipH="1">
            <a:off x="-1" y="0"/>
            <a:ext cx="9144000" cy="5143500"/>
          </a:xfrm>
          <a:prstGeom prst="rect">
            <a:avLst/>
          </a:prstGeom>
        </p:spPr>
      </p:pic>
      <p:sp>
        <p:nvSpPr>
          <p:cNvPr id="2" name="Titel 1"/>
          <p:cNvSpPr>
            <a:spLocks noGrp="1"/>
          </p:cNvSpPr>
          <p:nvPr>
            <p:ph type="ctrTitle"/>
          </p:nvPr>
        </p:nvSpPr>
        <p:spPr>
          <a:xfrm>
            <a:off x="723900" y="-443674"/>
            <a:ext cx="6546268" cy="1354262"/>
          </a:xfrm>
        </p:spPr>
        <p:txBody>
          <a:bodyPr>
            <a:normAutofit/>
          </a:bodyPr>
          <a:lstStyle/>
          <a:p>
            <a:r>
              <a:rPr lang="en-US" dirty="0"/>
              <a:t>Trends in biologics delivery</a:t>
            </a:r>
          </a:p>
        </p:txBody>
      </p:sp>
      <p:sp>
        <p:nvSpPr>
          <p:cNvPr id="3" name="Untertitel 2"/>
          <p:cNvSpPr>
            <a:spLocks noGrp="1"/>
          </p:cNvSpPr>
          <p:nvPr>
            <p:ph type="subTitle" idx="1"/>
          </p:nvPr>
        </p:nvSpPr>
        <p:spPr>
          <a:xfrm>
            <a:off x="723900" y="972553"/>
            <a:ext cx="6544800" cy="1162229"/>
          </a:xfrm>
        </p:spPr>
        <p:txBody>
          <a:bodyPr>
            <a:normAutofit/>
          </a:bodyPr>
          <a:lstStyle/>
          <a:p>
            <a:pPr>
              <a:lnSpc>
                <a:spcPct val="80000"/>
              </a:lnSpc>
            </a:pPr>
            <a:r>
              <a:rPr lang="en-US" sz="2500" dirty="0"/>
              <a:t>Devices and Formulations</a:t>
            </a:r>
          </a:p>
        </p:txBody>
      </p:sp>
      <p:cxnSp>
        <p:nvCxnSpPr>
          <p:cNvPr id="5" name="Connettore diritto 4">
            <a:extLst>
              <a:ext uri="{FF2B5EF4-FFF2-40B4-BE49-F238E27FC236}">
                <a16:creationId xmlns:a16="http://schemas.microsoft.com/office/drawing/2014/main" id="{D71FBF27-AC3F-4511-BDDA-4BD7AAA4EB61}"/>
              </a:ext>
            </a:extLst>
          </p:cNvPr>
          <p:cNvCxnSpPr>
            <a:cxnSpLocks/>
          </p:cNvCxnSpPr>
          <p:nvPr/>
        </p:nvCxnSpPr>
        <p:spPr>
          <a:xfrm>
            <a:off x="723900" y="964390"/>
            <a:ext cx="3325582" cy="8163"/>
          </a:xfrm>
          <a:prstGeom prst="line">
            <a:avLst/>
          </a:prstGeom>
          <a:ln w="19050">
            <a:solidFill>
              <a:srgbClr val="F793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4378082"/>
      </p:ext>
    </p:extLst>
  </p:cSld>
  <p:clrMapOvr>
    <a:masterClrMapping/>
  </p:clrMapOvr>
  <mc:AlternateContent xmlns:mc="http://schemas.openxmlformats.org/markup-compatibility/2006" xmlns:p14="http://schemas.microsoft.com/office/powerpoint/2010/main">
    <mc:Choice Requires="p14">
      <p:transition spd="slow" p14:dur="2000" advTm="7441"/>
    </mc:Choice>
    <mc:Fallback xmlns="">
      <p:transition spd="slow" advTm="7441"/>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Market trends </a:t>
            </a:r>
          </a:p>
        </p:txBody>
      </p:sp>
      <p:sp>
        <p:nvSpPr>
          <p:cNvPr id="6" name="CasellaDiTesto 5"/>
          <p:cNvSpPr txBox="1"/>
          <p:nvPr/>
        </p:nvSpPr>
        <p:spPr>
          <a:xfrm>
            <a:off x="1722775" y="1372732"/>
            <a:ext cx="3135086" cy="600164"/>
          </a:xfrm>
          <a:prstGeom prst="rect">
            <a:avLst/>
          </a:prstGeom>
          <a:noFill/>
        </p:spPr>
        <p:txBody>
          <a:bodyPr wrap="square" rtlCol="0">
            <a:spAutoFit/>
          </a:bodyPr>
          <a:lstStyle/>
          <a:p>
            <a:r>
              <a:rPr lang="it-IT" b="1" dirty="0" err="1"/>
              <a:t>Biologics</a:t>
            </a:r>
            <a:r>
              <a:rPr lang="it-IT" dirty="0"/>
              <a:t> </a:t>
            </a:r>
          </a:p>
          <a:p>
            <a:r>
              <a:rPr lang="it-IT" sz="1500" dirty="0">
                <a:sym typeface="Wingdings" panose="05000000000000000000" pitchFamily="2" charset="2"/>
              </a:rPr>
              <a:t>Large volume and </a:t>
            </a:r>
            <a:r>
              <a:rPr lang="it-IT" sz="1500" dirty="0" err="1">
                <a:sym typeface="Wingdings" panose="05000000000000000000" pitchFamily="2" charset="2"/>
              </a:rPr>
              <a:t>viscosity</a:t>
            </a:r>
            <a:r>
              <a:rPr lang="it-IT" sz="1500" dirty="0">
                <a:sym typeface="Wingdings" panose="05000000000000000000" pitchFamily="2" charset="2"/>
              </a:rPr>
              <a:t> </a:t>
            </a:r>
            <a:endParaRPr lang="it-IT" sz="1500" dirty="0"/>
          </a:p>
        </p:txBody>
      </p:sp>
      <p:sp>
        <p:nvSpPr>
          <p:cNvPr id="7" name="CasellaDiTesto 6"/>
          <p:cNvSpPr txBox="1"/>
          <p:nvPr/>
        </p:nvSpPr>
        <p:spPr>
          <a:xfrm>
            <a:off x="1755430" y="2535164"/>
            <a:ext cx="2854189" cy="1061829"/>
          </a:xfrm>
          <a:prstGeom prst="rect">
            <a:avLst/>
          </a:prstGeom>
          <a:noFill/>
        </p:spPr>
        <p:txBody>
          <a:bodyPr wrap="square" rtlCol="0">
            <a:spAutoFit/>
          </a:bodyPr>
          <a:lstStyle/>
          <a:p>
            <a:r>
              <a:rPr lang="it-IT" b="1" dirty="0" err="1"/>
              <a:t>Patient</a:t>
            </a:r>
            <a:r>
              <a:rPr lang="it-IT" b="1" dirty="0"/>
              <a:t> </a:t>
            </a:r>
            <a:r>
              <a:rPr lang="it-IT" b="1" dirty="0" err="1"/>
              <a:t>centric-models</a:t>
            </a:r>
            <a:r>
              <a:rPr lang="it-IT" b="1" dirty="0"/>
              <a:t> </a:t>
            </a:r>
          </a:p>
          <a:p>
            <a:r>
              <a:rPr lang="it-IT" sz="1500" dirty="0" err="1"/>
              <a:t>Subcutaneous</a:t>
            </a:r>
            <a:r>
              <a:rPr lang="it-IT" sz="1500" dirty="0"/>
              <a:t> self-</a:t>
            </a:r>
            <a:r>
              <a:rPr lang="it-IT" sz="1500" dirty="0" err="1"/>
              <a:t>administration</a:t>
            </a:r>
            <a:r>
              <a:rPr lang="it-IT" sz="1500" dirty="0"/>
              <a:t>,</a:t>
            </a:r>
          </a:p>
          <a:p>
            <a:r>
              <a:rPr lang="it-IT" sz="1500" dirty="0" err="1">
                <a:sym typeface="Wingdings" panose="05000000000000000000" pitchFamily="2" charset="2"/>
              </a:rPr>
              <a:t>Convenient</a:t>
            </a:r>
            <a:r>
              <a:rPr lang="it-IT" sz="1500" dirty="0">
                <a:sym typeface="Wingdings" panose="05000000000000000000" pitchFamily="2" charset="2"/>
              </a:rPr>
              <a:t>, </a:t>
            </a:r>
            <a:r>
              <a:rPr lang="it-IT" sz="1500" dirty="0" err="1">
                <a:sym typeface="Wingdings" panose="05000000000000000000" pitchFamily="2" charset="2"/>
              </a:rPr>
              <a:t>simple</a:t>
            </a:r>
            <a:r>
              <a:rPr lang="it-IT" sz="1500" dirty="0">
                <a:sym typeface="Wingdings" panose="05000000000000000000" pitchFamily="2" charset="2"/>
              </a:rPr>
              <a:t>, intuitive, long &amp; ultra-long </a:t>
            </a:r>
            <a:r>
              <a:rPr lang="it-IT" sz="1500" dirty="0" err="1">
                <a:sym typeface="Wingdings" panose="05000000000000000000" pitchFamily="2" charset="2"/>
              </a:rPr>
              <a:t>acting</a:t>
            </a:r>
            <a:r>
              <a:rPr lang="it-IT" sz="1500" dirty="0"/>
              <a:t> </a:t>
            </a:r>
          </a:p>
        </p:txBody>
      </p:sp>
      <p:sp>
        <p:nvSpPr>
          <p:cNvPr id="8" name="CasellaDiTesto 7"/>
          <p:cNvSpPr txBox="1"/>
          <p:nvPr/>
        </p:nvSpPr>
        <p:spPr>
          <a:xfrm>
            <a:off x="6344798" y="1312794"/>
            <a:ext cx="2059576" cy="600164"/>
          </a:xfrm>
          <a:prstGeom prst="rect">
            <a:avLst/>
          </a:prstGeom>
          <a:noFill/>
        </p:spPr>
        <p:txBody>
          <a:bodyPr wrap="square" rtlCol="0">
            <a:spAutoFit/>
          </a:bodyPr>
          <a:lstStyle/>
          <a:p>
            <a:r>
              <a:rPr lang="it-IT" b="1" dirty="0" err="1"/>
              <a:t>Costs</a:t>
            </a:r>
            <a:r>
              <a:rPr lang="it-IT" b="1" dirty="0"/>
              <a:t> </a:t>
            </a:r>
            <a:r>
              <a:rPr lang="it-IT" b="1" dirty="0" err="1"/>
              <a:t>containment</a:t>
            </a:r>
            <a:r>
              <a:rPr lang="it-IT" b="1" dirty="0"/>
              <a:t> </a:t>
            </a:r>
          </a:p>
          <a:p>
            <a:r>
              <a:rPr lang="it-IT" sz="1500" dirty="0">
                <a:sym typeface="Wingdings" panose="05000000000000000000" pitchFamily="2" charset="2"/>
              </a:rPr>
              <a:t>Home </a:t>
            </a:r>
            <a:r>
              <a:rPr lang="it-IT" sz="1500" dirty="0" err="1">
                <a:sym typeface="Wingdings" panose="05000000000000000000" pitchFamily="2" charset="2"/>
              </a:rPr>
              <a:t>therapies</a:t>
            </a:r>
            <a:r>
              <a:rPr lang="it-IT" sz="1500" dirty="0">
                <a:sym typeface="Wingdings" panose="05000000000000000000" pitchFamily="2" charset="2"/>
              </a:rPr>
              <a:t> </a:t>
            </a:r>
            <a:endParaRPr lang="it-IT" sz="1500" dirty="0"/>
          </a:p>
        </p:txBody>
      </p:sp>
      <p:sp>
        <p:nvSpPr>
          <p:cNvPr id="9" name="CasellaDiTesto 8"/>
          <p:cNvSpPr txBox="1"/>
          <p:nvPr/>
        </p:nvSpPr>
        <p:spPr>
          <a:xfrm>
            <a:off x="6397046" y="2491184"/>
            <a:ext cx="2464530" cy="1061829"/>
          </a:xfrm>
          <a:prstGeom prst="rect">
            <a:avLst/>
          </a:prstGeom>
          <a:noFill/>
        </p:spPr>
        <p:txBody>
          <a:bodyPr wrap="square" rtlCol="0">
            <a:spAutoFit/>
          </a:bodyPr>
          <a:lstStyle/>
          <a:p>
            <a:r>
              <a:rPr lang="it-IT" b="1" dirty="0"/>
              <a:t>Digital </a:t>
            </a:r>
            <a:r>
              <a:rPr lang="it-IT" b="1" dirty="0" err="1"/>
              <a:t>health</a:t>
            </a:r>
            <a:endParaRPr lang="it-IT" b="1" dirty="0"/>
          </a:p>
          <a:p>
            <a:r>
              <a:rPr lang="it-IT" sz="1500" dirty="0">
                <a:sym typeface="Wingdings" panose="05000000000000000000" pitchFamily="2" charset="2"/>
              </a:rPr>
              <a:t>Electronics and </a:t>
            </a:r>
            <a:r>
              <a:rPr lang="it-IT" sz="1500" dirty="0" err="1">
                <a:sym typeface="Wingdings" panose="05000000000000000000" pitchFamily="2" charset="2"/>
              </a:rPr>
              <a:t>connectivity</a:t>
            </a:r>
            <a:r>
              <a:rPr lang="it-IT" sz="1500" dirty="0">
                <a:sym typeface="Wingdings" panose="05000000000000000000" pitchFamily="2" charset="2"/>
              </a:rPr>
              <a:t> in the device, </a:t>
            </a:r>
            <a:r>
              <a:rPr lang="it-IT" sz="1500" dirty="0" err="1">
                <a:sym typeface="Wingdings" panose="05000000000000000000" pitchFamily="2" charset="2"/>
              </a:rPr>
              <a:t>patient</a:t>
            </a:r>
            <a:r>
              <a:rPr lang="it-IT" sz="1500" dirty="0">
                <a:sym typeface="Wingdings" panose="05000000000000000000" pitchFamily="2" charset="2"/>
              </a:rPr>
              <a:t> compliance, self-monitoring</a:t>
            </a:r>
            <a:endParaRPr lang="it-IT" sz="1500" dirty="0"/>
          </a:p>
        </p:txBody>
      </p:sp>
      <p:pic>
        <p:nvPicPr>
          <p:cNvPr id="12"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4671" y="2257909"/>
            <a:ext cx="1142789" cy="1389879"/>
          </a:xfrm>
          <a:prstGeom prst="rect">
            <a:avLst/>
          </a:prstGeom>
        </p:spPr>
      </p:pic>
      <p:pic>
        <p:nvPicPr>
          <p:cNvPr id="10" name="Immagine 9"/>
          <p:cNvPicPr>
            <a:picLocks noChangeAspect="1"/>
          </p:cNvPicPr>
          <p:nvPr/>
        </p:nvPicPr>
        <p:blipFill rotWithShape="1">
          <a:blip r:embed="rId4"/>
          <a:srcRect l="17391" r="16400" b="472"/>
          <a:stretch/>
        </p:blipFill>
        <p:spPr>
          <a:xfrm>
            <a:off x="618961" y="1259156"/>
            <a:ext cx="1129938" cy="955436"/>
          </a:xfrm>
          <a:prstGeom prst="rect">
            <a:avLst/>
          </a:prstGeom>
        </p:spPr>
      </p:pic>
      <p:pic>
        <p:nvPicPr>
          <p:cNvPr id="13" name="Immagine 12"/>
          <p:cNvPicPr>
            <a:picLocks noChangeAspect="1"/>
          </p:cNvPicPr>
          <p:nvPr/>
        </p:nvPicPr>
        <p:blipFill rotWithShape="1">
          <a:blip r:embed="rId5"/>
          <a:srcRect l="9016" r="7671"/>
          <a:stretch/>
        </p:blipFill>
        <p:spPr>
          <a:xfrm>
            <a:off x="5210497" y="1265324"/>
            <a:ext cx="1182189" cy="949268"/>
          </a:xfrm>
          <a:prstGeom prst="rect">
            <a:avLst/>
          </a:prstGeom>
        </p:spPr>
      </p:pic>
      <p:pic>
        <p:nvPicPr>
          <p:cNvPr id="15" name="Immagine 14"/>
          <p:cNvPicPr>
            <a:picLocks noChangeAspect="1"/>
          </p:cNvPicPr>
          <p:nvPr/>
        </p:nvPicPr>
        <p:blipFill>
          <a:blip r:embed="rId6"/>
          <a:stretch>
            <a:fillRect/>
          </a:stretch>
        </p:blipFill>
        <p:spPr>
          <a:xfrm>
            <a:off x="547899" y="2549989"/>
            <a:ext cx="1201000" cy="949268"/>
          </a:xfrm>
          <a:prstGeom prst="rect">
            <a:avLst/>
          </a:prstGeom>
        </p:spPr>
      </p:pic>
      <p:sp>
        <p:nvSpPr>
          <p:cNvPr id="16" name="Slide Number Placeholder 2"/>
          <p:cNvSpPr>
            <a:spLocks noGrp="1"/>
          </p:cNvSpPr>
          <p:nvPr>
            <p:ph type="sldNum" sz="quarter" idx="4294967295"/>
          </p:nvPr>
        </p:nvSpPr>
        <p:spPr>
          <a:xfrm>
            <a:off x="8315325" y="4767263"/>
            <a:ext cx="4572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420D6EC-57ED-4845-8B8D-69D8D134C6F0}" type="slidenum">
              <a:rPr kumimoji="0" lang="en-US" sz="750" b="0" i="0" u="none" strike="noStrike" kern="1200" cap="none" spc="0" normalizeH="0" baseline="0" noProof="0" smtClean="0">
                <a:ln>
                  <a:noFill/>
                </a:ln>
                <a:solidFill>
                  <a:srgbClr val="4D4D4D"/>
                </a:solidFill>
                <a:effectLst/>
                <a:uLnTx/>
                <a:uFillTx/>
                <a:latin typeface="Calibri"/>
                <a:ea typeface="+mn-ea"/>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750" b="0" i="0" u="none" strike="noStrike" kern="1200" cap="none" spc="0" normalizeH="0" baseline="0" noProof="0" dirty="0">
              <a:ln>
                <a:noFill/>
              </a:ln>
              <a:solidFill>
                <a:srgbClr val="4D4D4D"/>
              </a:solidFill>
              <a:effectLst/>
              <a:uLnTx/>
              <a:uFillTx/>
              <a:latin typeface="Calibri"/>
              <a:ea typeface="+mn-ea"/>
            </a:endParaRPr>
          </a:p>
        </p:txBody>
      </p:sp>
      <p:sp>
        <p:nvSpPr>
          <p:cNvPr id="18" name="Footer Placeholder 38"/>
          <p:cNvSpPr>
            <a:spLocks noGrp="1"/>
          </p:cNvSpPr>
          <p:nvPr>
            <p:ph type="ftr" sz="quarter" idx="15"/>
          </p:nvPr>
        </p:nvSpPr>
        <p:spPr>
          <a:xfrm>
            <a:off x="390527" y="4767265"/>
            <a:ext cx="2367189" cy="273844"/>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4D4D4D"/>
                </a:solidFill>
                <a:effectLst/>
                <a:uLnTx/>
                <a:uFillTx/>
                <a:latin typeface="Calibri"/>
                <a:ea typeface="+mn-ea"/>
                <a:cs typeface="+mn-cs"/>
              </a:rPr>
              <a:t>External </a:t>
            </a:r>
          </a:p>
        </p:txBody>
      </p:sp>
    </p:spTree>
    <p:extLst>
      <p:ext uri="{BB962C8B-B14F-4D97-AF65-F5344CB8AC3E}">
        <p14:creationId xmlns:p14="http://schemas.microsoft.com/office/powerpoint/2010/main" val="1365634294"/>
      </p:ext>
    </p:extLst>
  </p:cSld>
  <p:clrMapOvr>
    <a:masterClrMapping/>
  </p:clrMapOvr>
  <mc:AlternateContent xmlns:mc="http://schemas.openxmlformats.org/markup-compatibility/2006" xmlns:p14="http://schemas.microsoft.com/office/powerpoint/2010/main">
    <mc:Choice Requires="p14">
      <p:transition spd="slow" p14:dur="2000" advTm="39213"/>
    </mc:Choice>
    <mc:Fallback xmlns="">
      <p:transition spd="slow" advTm="39213"/>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D0BFB-B228-43DD-B236-F5A8D4C9725D}"/>
              </a:ext>
            </a:extLst>
          </p:cNvPr>
          <p:cNvSpPr>
            <a:spLocks noGrp="1"/>
          </p:cNvSpPr>
          <p:nvPr>
            <p:ph type="title"/>
          </p:nvPr>
        </p:nvSpPr>
        <p:spPr/>
        <p:txBody>
          <a:bodyPr>
            <a:normAutofit/>
          </a:bodyPr>
          <a:lstStyle/>
          <a:p>
            <a:r>
              <a:rPr lang="en-US" sz="2000" dirty="0"/>
              <a:t>Evolution of biologics delivery solutions</a:t>
            </a:r>
          </a:p>
        </p:txBody>
      </p:sp>
      <p:sp>
        <p:nvSpPr>
          <p:cNvPr id="3" name="Slide Number Placeholder 2">
            <a:extLst>
              <a:ext uri="{FF2B5EF4-FFF2-40B4-BE49-F238E27FC236}">
                <a16:creationId xmlns:a16="http://schemas.microsoft.com/office/drawing/2014/main" id="{DF71047B-0C0A-4EAB-B3A0-BDEE5C7617E2}"/>
              </a:ext>
            </a:extLst>
          </p:cNvPr>
          <p:cNvSpPr>
            <a:spLocks noGrp="1"/>
          </p:cNvSpPr>
          <p:nvPr>
            <p:ph type="sldNum"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BC18623-D5EF-43D5-AE73-F0DD34C132F1}" type="slidenum">
              <a:rPr kumimoji="0" lang="de-DE" sz="750" b="0" i="0" u="none" strike="noStrike" kern="1200" cap="none" spc="0" normalizeH="0" baseline="0" noProof="0">
                <a:ln>
                  <a:noFill/>
                </a:ln>
                <a:solidFill>
                  <a:srgbClr val="4D4D4D"/>
                </a:solidFill>
                <a:effectLst/>
                <a:uLnTx/>
                <a:uFillTx/>
                <a:latin typeface="Calibri"/>
                <a:ea typeface="+mn-ea"/>
                <a:cs typeface="Calibri" panose="020B0604020202020204" pitchFamily="34" charset="0"/>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de-DE" sz="750" b="0" i="0" u="none" strike="noStrike" kern="1200" cap="none" spc="0" normalizeH="0" baseline="0" noProof="0">
              <a:ln>
                <a:noFill/>
              </a:ln>
              <a:solidFill>
                <a:srgbClr val="4D4D4D"/>
              </a:solidFill>
              <a:effectLst/>
              <a:uLnTx/>
              <a:uFillTx/>
              <a:latin typeface="Calibri"/>
              <a:ea typeface="+mn-ea"/>
              <a:cs typeface="Calibri" panose="020B0604020202020204" pitchFamily="34" charset="0"/>
            </a:endParaRPr>
          </a:p>
        </p:txBody>
      </p:sp>
      <p:sp>
        <p:nvSpPr>
          <p:cNvPr id="11" name="Footer Placeholder 2">
            <a:extLst>
              <a:ext uri="{FF2B5EF4-FFF2-40B4-BE49-F238E27FC236}">
                <a16:creationId xmlns:a16="http://schemas.microsoft.com/office/drawing/2014/main" id="{C08CCA6C-0F77-41C9-9FC2-55CF5F5F251F}"/>
              </a:ext>
            </a:extLst>
          </p:cNvPr>
          <p:cNvSpPr>
            <a:spLocks noGrp="1"/>
          </p:cNvSpPr>
          <p:nvPr>
            <p:ph type="ftr" sz="quarter" idx="10"/>
          </p:nvPr>
        </p:nvSpPr>
        <p:spPr>
          <a:xfrm>
            <a:off x="390527" y="4767265"/>
            <a:ext cx="2999059" cy="273844"/>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4D4D4D"/>
                </a:solidFill>
                <a:effectLst/>
                <a:uLnTx/>
                <a:uFillTx/>
                <a:latin typeface="Calibri"/>
                <a:ea typeface="+mn-ea"/>
                <a:cs typeface="+mn-cs"/>
              </a:rPr>
              <a:t>External</a:t>
            </a:r>
          </a:p>
        </p:txBody>
      </p:sp>
      <p:sp>
        <p:nvSpPr>
          <p:cNvPr id="8" name="Pfeil: nach rechts 8">
            <a:extLst>
              <a:ext uri="{FF2B5EF4-FFF2-40B4-BE49-F238E27FC236}">
                <a16:creationId xmlns:a16="http://schemas.microsoft.com/office/drawing/2014/main" id="{CE281643-FBFA-4B98-9679-E3D3CFFB9A37}"/>
              </a:ext>
            </a:extLst>
          </p:cNvPr>
          <p:cNvSpPr/>
          <p:nvPr/>
        </p:nvSpPr>
        <p:spPr>
          <a:xfrm>
            <a:off x="725896" y="4038832"/>
            <a:ext cx="7884032" cy="266623"/>
          </a:xfrm>
          <a:prstGeom prst="rightArrow">
            <a:avLst>
              <a:gd name="adj1" fmla="val 31974"/>
              <a:gd name="adj2" fmla="val 84988"/>
            </a:avLst>
          </a:prstGeom>
          <a:gradFill flip="none" rotWithShape="1">
            <a:gsLst>
              <a:gs pos="0">
                <a:schemeClr val="bg1">
                  <a:lumMod val="75000"/>
                </a:schemeClr>
              </a:gs>
              <a:gs pos="100000">
                <a:schemeClr val="tx1">
                  <a:lumMod val="75000"/>
                  <a:lumOff val="2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Pfeil: nach rechts 11">
            <a:extLst>
              <a:ext uri="{FF2B5EF4-FFF2-40B4-BE49-F238E27FC236}">
                <a16:creationId xmlns:a16="http://schemas.microsoft.com/office/drawing/2014/main" id="{9CA7754F-73E5-45AA-8E5F-A88B203A8A77}"/>
              </a:ext>
            </a:extLst>
          </p:cNvPr>
          <p:cNvSpPr/>
          <p:nvPr/>
        </p:nvSpPr>
        <p:spPr>
          <a:xfrm rot="16200000">
            <a:off x="-844166" y="2458063"/>
            <a:ext cx="3197419" cy="273844"/>
          </a:xfrm>
          <a:prstGeom prst="rightArrow">
            <a:avLst>
              <a:gd name="adj1" fmla="val 31974"/>
              <a:gd name="adj2" fmla="val 84988"/>
            </a:avLst>
          </a:prstGeom>
          <a:gradFill flip="none" rotWithShape="1">
            <a:gsLst>
              <a:gs pos="0">
                <a:schemeClr val="bg1">
                  <a:lumMod val="75000"/>
                </a:schemeClr>
              </a:gs>
              <a:gs pos="100000">
                <a:schemeClr val="tx1">
                  <a:lumMod val="75000"/>
                  <a:lumOff val="2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feld 12">
            <a:extLst>
              <a:ext uri="{FF2B5EF4-FFF2-40B4-BE49-F238E27FC236}">
                <a16:creationId xmlns:a16="http://schemas.microsoft.com/office/drawing/2014/main" id="{C878BDD4-DF51-4D47-B61C-6FFE239F1E94}"/>
              </a:ext>
            </a:extLst>
          </p:cNvPr>
          <p:cNvSpPr txBox="1"/>
          <p:nvPr/>
        </p:nvSpPr>
        <p:spPr>
          <a:xfrm>
            <a:off x="6697825" y="3866600"/>
            <a:ext cx="172027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white">
                    <a:lumMod val="50000"/>
                  </a:prstClr>
                </a:solidFill>
                <a:effectLst/>
                <a:uLnTx/>
                <a:uFillTx/>
                <a:latin typeface="Calibri"/>
                <a:ea typeface="+mn-ea"/>
                <a:cs typeface="+mn-cs"/>
              </a:rPr>
              <a:t>Dosage form </a:t>
            </a:r>
            <a:r>
              <a:rPr kumimoji="0" lang="de-DE" sz="1200" b="1" i="0" u="none" strike="noStrike" kern="1200" cap="none" spc="0" normalizeH="0" baseline="0" noProof="0" dirty="0" err="1">
                <a:ln>
                  <a:noFill/>
                </a:ln>
                <a:solidFill>
                  <a:prstClr val="white">
                    <a:lumMod val="50000"/>
                  </a:prstClr>
                </a:solidFill>
                <a:effectLst/>
                <a:uLnTx/>
                <a:uFillTx/>
                <a:latin typeface="Calibri"/>
                <a:ea typeface="+mn-ea"/>
                <a:cs typeface="+mn-cs"/>
              </a:rPr>
              <a:t>innovation</a:t>
            </a:r>
            <a:endParaRPr kumimoji="0" lang="de-DE" sz="1200" b="1"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12" name="Textfeld 13">
            <a:extLst>
              <a:ext uri="{FF2B5EF4-FFF2-40B4-BE49-F238E27FC236}">
                <a16:creationId xmlns:a16="http://schemas.microsoft.com/office/drawing/2014/main" id="{89389A01-19D4-492E-B4C1-0C9FA00602F1}"/>
              </a:ext>
            </a:extLst>
          </p:cNvPr>
          <p:cNvSpPr txBox="1"/>
          <p:nvPr/>
        </p:nvSpPr>
        <p:spPr>
          <a:xfrm rot="16200000">
            <a:off x="-74347" y="1681969"/>
            <a:ext cx="124200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white">
                    <a:lumMod val="50000"/>
                  </a:prstClr>
                </a:solidFill>
                <a:effectLst/>
                <a:uLnTx/>
                <a:uFillTx/>
                <a:latin typeface="Calibri"/>
                <a:ea typeface="+mn-ea"/>
                <a:cs typeface="+mn-cs"/>
              </a:rPr>
              <a:t>Patient </a:t>
            </a:r>
            <a:r>
              <a:rPr kumimoji="0" lang="de-DE" sz="1200" b="1" i="0" u="none" strike="noStrike" kern="1200" cap="none" spc="0" normalizeH="0" baseline="0" noProof="0" dirty="0" err="1">
                <a:ln>
                  <a:noFill/>
                </a:ln>
                <a:solidFill>
                  <a:prstClr val="white">
                    <a:lumMod val="50000"/>
                  </a:prstClr>
                </a:solidFill>
                <a:effectLst/>
                <a:uLnTx/>
                <a:uFillTx/>
                <a:latin typeface="Calibri"/>
                <a:ea typeface="+mn-ea"/>
                <a:cs typeface="+mn-cs"/>
              </a:rPr>
              <a:t>outcome</a:t>
            </a:r>
            <a:endParaRPr kumimoji="0" lang="de-DE" sz="1200" b="1"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13" name="TextBox 9">
            <a:extLst>
              <a:ext uri="{FF2B5EF4-FFF2-40B4-BE49-F238E27FC236}">
                <a16:creationId xmlns:a16="http://schemas.microsoft.com/office/drawing/2014/main" id="{784EBEC2-77BA-4EFB-AF63-38145E6272B3}"/>
              </a:ext>
            </a:extLst>
          </p:cNvPr>
          <p:cNvSpPr txBox="1"/>
          <p:nvPr/>
        </p:nvSpPr>
        <p:spPr bwMode="auto">
          <a:xfrm>
            <a:off x="2654850" y="1419916"/>
            <a:ext cx="121535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D4D"/>
                </a:solidFill>
                <a:effectLst/>
                <a:uLnTx/>
                <a:uFillTx/>
                <a:latin typeface="Calibri"/>
                <a:ea typeface="+mn-ea"/>
                <a:cs typeface="+mn-cs"/>
              </a:rPr>
              <a:t>Injection Pens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D4D"/>
                </a:solidFill>
                <a:effectLst/>
                <a:uLnTx/>
                <a:uFillTx/>
                <a:latin typeface="Calibri"/>
                <a:ea typeface="+mn-ea"/>
                <a:cs typeface="+mn-cs"/>
              </a:rPr>
              <a:t>Auto-injectors</a:t>
            </a:r>
          </a:p>
        </p:txBody>
      </p:sp>
      <p:sp>
        <p:nvSpPr>
          <p:cNvPr id="14" name="TextBox 6">
            <a:extLst>
              <a:ext uri="{FF2B5EF4-FFF2-40B4-BE49-F238E27FC236}">
                <a16:creationId xmlns:a16="http://schemas.microsoft.com/office/drawing/2014/main" id="{F05ADEA0-C2A9-4574-A035-D2522FDEB958}"/>
              </a:ext>
            </a:extLst>
          </p:cNvPr>
          <p:cNvSpPr txBox="1">
            <a:spLocks noChangeArrowheads="1"/>
          </p:cNvSpPr>
          <p:nvPr/>
        </p:nvSpPr>
        <p:spPr bwMode="auto">
          <a:xfrm>
            <a:off x="6717998" y="941254"/>
            <a:ext cx="17278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60000"/>
              </a:spcAft>
              <a:defRPr>
                <a:solidFill>
                  <a:schemeClr val="tx1"/>
                </a:solidFill>
                <a:latin typeface="Arial" charset="0"/>
              </a:defRPr>
            </a:lvl6pPr>
            <a:lvl7pPr marL="2971800" indent="-228600" eaLnBrk="0" fontAlgn="base" hangingPunct="0">
              <a:spcBef>
                <a:spcPct val="0"/>
              </a:spcBef>
              <a:spcAft>
                <a:spcPct val="60000"/>
              </a:spcAft>
              <a:defRPr>
                <a:solidFill>
                  <a:schemeClr val="tx1"/>
                </a:solidFill>
                <a:latin typeface="Arial" charset="0"/>
              </a:defRPr>
            </a:lvl7pPr>
            <a:lvl8pPr marL="3429000" indent="-228600" eaLnBrk="0" fontAlgn="base" hangingPunct="0">
              <a:spcBef>
                <a:spcPct val="0"/>
              </a:spcBef>
              <a:spcAft>
                <a:spcPct val="60000"/>
              </a:spcAft>
              <a:defRPr>
                <a:solidFill>
                  <a:schemeClr val="tx1"/>
                </a:solidFill>
                <a:latin typeface="Arial" charset="0"/>
              </a:defRPr>
            </a:lvl8pPr>
            <a:lvl9pPr marL="3886200" indent="-228600" eaLnBrk="0" fontAlgn="base" hangingPunct="0">
              <a:spcBef>
                <a:spcPct val="0"/>
              </a:spcBef>
              <a:spcAft>
                <a:spcPct val="6000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D4D"/>
                </a:solidFill>
                <a:effectLst/>
                <a:uLnTx/>
                <a:uFillTx/>
                <a:latin typeface="Calibri"/>
                <a:ea typeface="+mn-ea"/>
                <a:cs typeface="+mn-cs"/>
              </a:rPr>
              <a:t>Long-acting </a:t>
            </a:r>
            <a:r>
              <a:rPr kumimoji="0" lang="en-US" sz="1200" b="1" i="0" u="none" strike="noStrike" kern="1200" cap="none" spc="0" normalizeH="0" baseline="0" noProof="0" dirty="0" err="1">
                <a:ln>
                  <a:noFill/>
                </a:ln>
                <a:solidFill>
                  <a:srgbClr val="4D4D4D"/>
                </a:solidFill>
                <a:effectLst/>
                <a:uLnTx/>
                <a:uFillTx/>
                <a:latin typeface="Calibri"/>
                <a:ea typeface="+mn-ea"/>
                <a:cs typeface="+mn-cs"/>
              </a:rPr>
              <a:t>parenterals</a:t>
            </a:r>
            <a:endParaRPr kumimoji="0" lang="en-US" sz="1200" b="1" i="0" u="none" strike="noStrike" kern="1200" cap="none" spc="0" normalizeH="0" baseline="0" noProof="0" dirty="0">
              <a:ln>
                <a:noFill/>
              </a:ln>
              <a:solidFill>
                <a:srgbClr val="4D4D4D"/>
              </a:solidFill>
              <a:effectLst/>
              <a:uLnTx/>
              <a:uFillTx/>
              <a:latin typeface="Calibri"/>
              <a:ea typeface="+mn-ea"/>
              <a:cs typeface="+mn-cs"/>
            </a:endParaRPr>
          </a:p>
        </p:txBody>
      </p:sp>
      <p:sp>
        <p:nvSpPr>
          <p:cNvPr id="15" name="TextBox 6">
            <a:extLst>
              <a:ext uri="{FF2B5EF4-FFF2-40B4-BE49-F238E27FC236}">
                <a16:creationId xmlns:a16="http://schemas.microsoft.com/office/drawing/2014/main" id="{1635D613-C2C4-400B-BCA4-FEE80C371304}"/>
              </a:ext>
            </a:extLst>
          </p:cNvPr>
          <p:cNvSpPr txBox="1">
            <a:spLocks noChangeArrowheads="1"/>
          </p:cNvSpPr>
          <p:nvPr/>
        </p:nvSpPr>
        <p:spPr bwMode="auto">
          <a:xfrm>
            <a:off x="5187093" y="1184310"/>
            <a:ext cx="110491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60000"/>
              </a:spcAft>
              <a:defRPr>
                <a:solidFill>
                  <a:schemeClr val="tx1"/>
                </a:solidFill>
                <a:latin typeface="Arial" charset="0"/>
              </a:defRPr>
            </a:lvl6pPr>
            <a:lvl7pPr marL="2971800" indent="-228600" eaLnBrk="0" fontAlgn="base" hangingPunct="0">
              <a:spcBef>
                <a:spcPct val="0"/>
              </a:spcBef>
              <a:spcAft>
                <a:spcPct val="60000"/>
              </a:spcAft>
              <a:defRPr>
                <a:solidFill>
                  <a:schemeClr val="tx1"/>
                </a:solidFill>
                <a:latin typeface="Arial" charset="0"/>
              </a:defRPr>
            </a:lvl7pPr>
            <a:lvl8pPr marL="3429000" indent="-228600" eaLnBrk="0" fontAlgn="base" hangingPunct="0">
              <a:spcBef>
                <a:spcPct val="0"/>
              </a:spcBef>
              <a:spcAft>
                <a:spcPct val="60000"/>
              </a:spcAft>
              <a:defRPr>
                <a:solidFill>
                  <a:schemeClr val="tx1"/>
                </a:solidFill>
                <a:latin typeface="Arial" charset="0"/>
              </a:defRPr>
            </a:lvl8pPr>
            <a:lvl9pPr marL="3886200" indent="-228600" eaLnBrk="0" fontAlgn="base" hangingPunct="0">
              <a:spcBef>
                <a:spcPct val="0"/>
              </a:spcBef>
              <a:spcAft>
                <a:spcPct val="6000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D4D"/>
                </a:solidFill>
                <a:effectLst/>
                <a:uLnTx/>
                <a:uFillTx/>
                <a:latin typeface="Calibri"/>
                <a:ea typeface="+mn-ea"/>
                <a:cs typeface="+mn-cs"/>
              </a:rPr>
              <a:t>Wearable pumps</a:t>
            </a:r>
          </a:p>
        </p:txBody>
      </p:sp>
      <p:pic>
        <p:nvPicPr>
          <p:cNvPr id="16" name="Immagine 6">
            <a:extLst>
              <a:ext uri="{FF2B5EF4-FFF2-40B4-BE49-F238E27FC236}">
                <a16:creationId xmlns:a16="http://schemas.microsoft.com/office/drawing/2014/main" id="{15804EFA-A822-41B1-8EB3-3960614688A5}"/>
              </a:ext>
            </a:extLst>
          </p:cNvPr>
          <p:cNvPicPr>
            <a:picLocks noChangeAspect="1"/>
          </p:cNvPicPr>
          <p:nvPr/>
        </p:nvPicPr>
        <p:blipFill>
          <a:blip r:embed="rId3"/>
          <a:stretch>
            <a:fillRect/>
          </a:stretch>
        </p:blipFill>
        <p:spPr>
          <a:xfrm>
            <a:off x="5377172" y="1751708"/>
            <a:ext cx="662368" cy="678694"/>
          </a:xfrm>
          <a:prstGeom prst="rect">
            <a:avLst/>
          </a:prstGeom>
        </p:spPr>
      </p:pic>
      <p:pic>
        <p:nvPicPr>
          <p:cNvPr id="17" name="Immagine 11">
            <a:extLst>
              <a:ext uri="{FF2B5EF4-FFF2-40B4-BE49-F238E27FC236}">
                <a16:creationId xmlns:a16="http://schemas.microsoft.com/office/drawing/2014/main" id="{B4A26D00-327D-431C-8596-E9DD5F49BECE}"/>
              </a:ext>
            </a:extLst>
          </p:cNvPr>
          <p:cNvPicPr>
            <a:picLocks noChangeAspect="1"/>
          </p:cNvPicPr>
          <p:nvPr/>
        </p:nvPicPr>
        <p:blipFill rotWithShape="1">
          <a:blip r:embed="rId4">
            <a:biLevel thresh="75000"/>
            <a:extLst>
              <a:ext uri="{BEBA8EAE-BF5A-486C-A8C5-ECC9F3942E4B}">
                <a14:imgProps xmlns:a14="http://schemas.microsoft.com/office/drawing/2010/main">
                  <a14:imgLayer r:embed="rId5">
                    <a14:imgEffect>
                      <a14:saturation sat="0"/>
                    </a14:imgEffect>
                    <a14:imgEffect>
                      <a14:brightnessContrast bright="40000" contrast="-40000"/>
                    </a14:imgEffect>
                  </a14:imgLayer>
                </a14:imgProps>
              </a:ext>
            </a:extLst>
          </a:blip>
          <a:srcRect l="61993" t="43778" b="47749"/>
          <a:stretch/>
        </p:blipFill>
        <p:spPr>
          <a:xfrm rot="16200000">
            <a:off x="2829075" y="2443557"/>
            <a:ext cx="902732" cy="197730"/>
          </a:xfrm>
          <a:prstGeom prst="rect">
            <a:avLst/>
          </a:prstGeom>
        </p:spPr>
      </p:pic>
      <p:pic>
        <p:nvPicPr>
          <p:cNvPr id="21" name="Immagine 55">
            <a:extLst>
              <a:ext uri="{FF2B5EF4-FFF2-40B4-BE49-F238E27FC236}">
                <a16:creationId xmlns:a16="http://schemas.microsoft.com/office/drawing/2014/main" id="{E90976A4-8954-4A0C-923C-696AB80FD1E4}"/>
              </a:ext>
            </a:extLst>
          </p:cNvPr>
          <p:cNvPicPr>
            <a:picLocks noChangeAspect="1"/>
          </p:cNvPicPr>
          <p:nvPr/>
        </p:nvPicPr>
        <p:blipFill rotWithShape="1">
          <a:blip r:embed="rId4">
            <a:biLevel thresh="75000"/>
            <a:extLst>
              <a:ext uri="{BEBA8EAE-BF5A-486C-A8C5-ECC9F3942E4B}">
                <a14:imgProps xmlns:a14="http://schemas.microsoft.com/office/drawing/2010/main">
                  <a14:imgLayer r:embed="rId5">
                    <a14:imgEffect>
                      <a14:saturation sat="0"/>
                    </a14:imgEffect>
                    <a14:imgEffect>
                      <a14:brightnessContrast bright="40000" contrast="-40000"/>
                    </a14:imgEffect>
                  </a14:imgLayer>
                </a14:imgProps>
              </a:ext>
            </a:extLst>
          </a:blip>
          <a:srcRect l="54166" t="56393" r="7827" b="35134"/>
          <a:stretch/>
        </p:blipFill>
        <p:spPr>
          <a:xfrm rot="18899189">
            <a:off x="1992814" y="2775267"/>
            <a:ext cx="852179" cy="315218"/>
          </a:xfrm>
          <a:prstGeom prst="rect">
            <a:avLst/>
          </a:prstGeom>
        </p:spPr>
      </p:pic>
      <p:grpSp>
        <p:nvGrpSpPr>
          <p:cNvPr id="22" name="Group 12">
            <a:extLst>
              <a:ext uri="{FF2B5EF4-FFF2-40B4-BE49-F238E27FC236}">
                <a16:creationId xmlns:a16="http://schemas.microsoft.com/office/drawing/2014/main" id="{84157FFD-7430-4F23-88C5-330E47348273}"/>
              </a:ext>
            </a:extLst>
          </p:cNvPr>
          <p:cNvGrpSpPr/>
          <p:nvPr/>
        </p:nvGrpSpPr>
        <p:grpSpPr>
          <a:xfrm>
            <a:off x="1361689" y="2797289"/>
            <a:ext cx="309682" cy="782314"/>
            <a:chOff x="536479" y="1954062"/>
            <a:chExt cx="330116" cy="975485"/>
          </a:xfrm>
        </p:grpSpPr>
        <p:grpSp>
          <p:nvGrpSpPr>
            <p:cNvPr id="23" name="Group 8">
              <a:extLst>
                <a:ext uri="{FF2B5EF4-FFF2-40B4-BE49-F238E27FC236}">
                  <a16:creationId xmlns:a16="http://schemas.microsoft.com/office/drawing/2014/main" id="{9C72567A-AFEE-4E93-81C7-36291DB82814}"/>
                </a:ext>
              </a:extLst>
            </p:cNvPr>
            <p:cNvGrpSpPr/>
            <p:nvPr/>
          </p:nvGrpSpPr>
          <p:grpSpPr>
            <a:xfrm>
              <a:off x="536479" y="1954062"/>
              <a:ext cx="330116" cy="975485"/>
              <a:chOff x="8588658" y="2079738"/>
              <a:chExt cx="330116" cy="975485"/>
            </a:xfrm>
          </p:grpSpPr>
          <p:sp>
            <p:nvSpPr>
              <p:cNvPr id="25" name="Freeform: Shape 2">
                <a:extLst>
                  <a:ext uri="{FF2B5EF4-FFF2-40B4-BE49-F238E27FC236}">
                    <a16:creationId xmlns:a16="http://schemas.microsoft.com/office/drawing/2014/main" id="{D2CE80A6-89C3-46F3-8413-C5C8A9F986F2}"/>
                  </a:ext>
                </a:extLst>
              </p:cNvPr>
              <p:cNvSpPr/>
              <p:nvPr/>
            </p:nvSpPr>
            <p:spPr>
              <a:xfrm>
                <a:off x="8588658" y="2079738"/>
                <a:ext cx="330116" cy="845561"/>
              </a:xfrm>
              <a:custGeom>
                <a:avLst/>
                <a:gdLst>
                  <a:gd name="connsiteX0" fmla="*/ 635 w 346387"/>
                  <a:gd name="connsiteY0" fmla="*/ 91420 h 845494"/>
                  <a:gd name="connsiteX1" fmla="*/ 35304 w 346387"/>
                  <a:gd name="connsiteY1" fmla="*/ 212762 h 845494"/>
                  <a:gd name="connsiteX2" fmla="*/ 30970 w 346387"/>
                  <a:gd name="connsiteY2" fmla="*/ 455447 h 845494"/>
                  <a:gd name="connsiteX3" fmla="*/ 26637 w 346387"/>
                  <a:gd name="connsiteY3" fmla="*/ 728467 h 845494"/>
                  <a:gd name="connsiteX4" fmla="*/ 160980 w 346387"/>
                  <a:gd name="connsiteY4" fmla="*/ 845475 h 845494"/>
                  <a:gd name="connsiteX5" fmla="*/ 334326 w 346387"/>
                  <a:gd name="connsiteY5" fmla="*/ 737134 h 845494"/>
                  <a:gd name="connsiteX6" fmla="*/ 329992 w 346387"/>
                  <a:gd name="connsiteY6" fmla="*/ 650461 h 845494"/>
                  <a:gd name="connsiteX7" fmla="*/ 316991 w 346387"/>
                  <a:gd name="connsiteY7" fmla="*/ 377441 h 845494"/>
                  <a:gd name="connsiteX8" fmla="*/ 312658 w 346387"/>
                  <a:gd name="connsiteY8" fmla="*/ 199762 h 845494"/>
                  <a:gd name="connsiteX9" fmla="*/ 325659 w 346387"/>
                  <a:gd name="connsiteY9" fmla="*/ 78419 h 845494"/>
                  <a:gd name="connsiteX10" fmla="*/ 243319 w 346387"/>
                  <a:gd name="connsiteY10" fmla="*/ 69752 h 845494"/>
                  <a:gd name="connsiteX11" fmla="*/ 204316 w 346387"/>
                  <a:gd name="connsiteY11" fmla="*/ 52417 h 845494"/>
                  <a:gd name="connsiteX12" fmla="*/ 178315 w 346387"/>
                  <a:gd name="connsiteY12" fmla="*/ 26416 h 845494"/>
                  <a:gd name="connsiteX13" fmla="*/ 152313 w 346387"/>
                  <a:gd name="connsiteY13" fmla="*/ 414 h 845494"/>
                  <a:gd name="connsiteX14" fmla="*/ 117643 w 346387"/>
                  <a:gd name="connsiteY14" fmla="*/ 48084 h 845494"/>
                  <a:gd name="connsiteX15" fmla="*/ 100309 w 346387"/>
                  <a:gd name="connsiteY15" fmla="*/ 74086 h 845494"/>
                  <a:gd name="connsiteX16" fmla="*/ 69973 w 346387"/>
                  <a:gd name="connsiteY16" fmla="*/ 87087 h 845494"/>
                  <a:gd name="connsiteX17" fmla="*/ 635 w 346387"/>
                  <a:gd name="connsiteY17" fmla="*/ 91420 h 845494"/>
                  <a:gd name="connsiteX0" fmla="*/ 635 w 330116"/>
                  <a:gd name="connsiteY0" fmla="*/ 91420 h 845561"/>
                  <a:gd name="connsiteX1" fmla="*/ 35304 w 330116"/>
                  <a:gd name="connsiteY1" fmla="*/ 212762 h 845561"/>
                  <a:gd name="connsiteX2" fmla="*/ 30970 w 330116"/>
                  <a:gd name="connsiteY2" fmla="*/ 455447 h 845561"/>
                  <a:gd name="connsiteX3" fmla="*/ 26637 w 330116"/>
                  <a:gd name="connsiteY3" fmla="*/ 728467 h 845561"/>
                  <a:gd name="connsiteX4" fmla="*/ 160980 w 330116"/>
                  <a:gd name="connsiteY4" fmla="*/ 845475 h 845561"/>
                  <a:gd name="connsiteX5" fmla="*/ 308324 w 330116"/>
                  <a:gd name="connsiteY5" fmla="*/ 745801 h 845561"/>
                  <a:gd name="connsiteX6" fmla="*/ 329992 w 330116"/>
                  <a:gd name="connsiteY6" fmla="*/ 650461 h 845561"/>
                  <a:gd name="connsiteX7" fmla="*/ 316991 w 330116"/>
                  <a:gd name="connsiteY7" fmla="*/ 377441 h 845561"/>
                  <a:gd name="connsiteX8" fmla="*/ 312658 w 330116"/>
                  <a:gd name="connsiteY8" fmla="*/ 199762 h 845561"/>
                  <a:gd name="connsiteX9" fmla="*/ 325659 w 330116"/>
                  <a:gd name="connsiteY9" fmla="*/ 78419 h 845561"/>
                  <a:gd name="connsiteX10" fmla="*/ 243319 w 330116"/>
                  <a:gd name="connsiteY10" fmla="*/ 69752 h 845561"/>
                  <a:gd name="connsiteX11" fmla="*/ 204316 w 330116"/>
                  <a:gd name="connsiteY11" fmla="*/ 52417 h 845561"/>
                  <a:gd name="connsiteX12" fmla="*/ 178315 w 330116"/>
                  <a:gd name="connsiteY12" fmla="*/ 26416 h 845561"/>
                  <a:gd name="connsiteX13" fmla="*/ 152313 w 330116"/>
                  <a:gd name="connsiteY13" fmla="*/ 414 h 845561"/>
                  <a:gd name="connsiteX14" fmla="*/ 117643 w 330116"/>
                  <a:gd name="connsiteY14" fmla="*/ 48084 h 845561"/>
                  <a:gd name="connsiteX15" fmla="*/ 100309 w 330116"/>
                  <a:gd name="connsiteY15" fmla="*/ 74086 h 845561"/>
                  <a:gd name="connsiteX16" fmla="*/ 69973 w 330116"/>
                  <a:gd name="connsiteY16" fmla="*/ 87087 h 845561"/>
                  <a:gd name="connsiteX17" fmla="*/ 635 w 330116"/>
                  <a:gd name="connsiteY17" fmla="*/ 91420 h 845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0116" h="845561">
                    <a:moveTo>
                      <a:pt x="635" y="91420"/>
                    </a:moveTo>
                    <a:cubicBezTo>
                      <a:pt x="-5143" y="112366"/>
                      <a:pt x="30248" y="152091"/>
                      <a:pt x="35304" y="212762"/>
                    </a:cubicBezTo>
                    <a:cubicBezTo>
                      <a:pt x="40360" y="273433"/>
                      <a:pt x="32415" y="369496"/>
                      <a:pt x="30970" y="455447"/>
                    </a:cubicBezTo>
                    <a:cubicBezTo>
                      <a:pt x="29526" y="541398"/>
                      <a:pt x="4969" y="663462"/>
                      <a:pt x="26637" y="728467"/>
                    </a:cubicBezTo>
                    <a:cubicBezTo>
                      <a:pt x="48305" y="793472"/>
                      <a:pt x="114032" y="842586"/>
                      <a:pt x="160980" y="845475"/>
                    </a:cubicBezTo>
                    <a:cubicBezTo>
                      <a:pt x="207928" y="848364"/>
                      <a:pt x="280155" y="778303"/>
                      <a:pt x="308324" y="745801"/>
                    </a:cubicBezTo>
                    <a:cubicBezTo>
                      <a:pt x="336493" y="713299"/>
                      <a:pt x="328548" y="711854"/>
                      <a:pt x="329992" y="650461"/>
                    </a:cubicBezTo>
                    <a:cubicBezTo>
                      <a:pt x="331437" y="589068"/>
                      <a:pt x="319880" y="452557"/>
                      <a:pt x="316991" y="377441"/>
                    </a:cubicBezTo>
                    <a:cubicBezTo>
                      <a:pt x="314102" y="302325"/>
                      <a:pt x="311213" y="249599"/>
                      <a:pt x="312658" y="199762"/>
                    </a:cubicBezTo>
                    <a:cubicBezTo>
                      <a:pt x="314103" y="149925"/>
                      <a:pt x="337216" y="100087"/>
                      <a:pt x="325659" y="78419"/>
                    </a:cubicBezTo>
                    <a:cubicBezTo>
                      <a:pt x="314103" y="56751"/>
                      <a:pt x="263543" y="74086"/>
                      <a:pt x="243319" y="69752"/>
                    </a:cubicBezTo>
                    <a:cubicBezTo>
                      <a:pt x="223095" y="65418"/>
                      <a:pt x="215150" y="59640"/>
                      <a:pt x="204316" y="52417"/>
                    </a:cubicBezTo>
                    <a:cubicBezTo>
                      <a:pt x="193482" y="45194"/>
                      <a:pt x="178315" y="26416"/>
                      <a:pt x="178315" y="26416"/>
                    </a:cubicBezTo>
                    <a:cubicBezTo>
                      <a:pt x="169648" y="17749"/>
                      <a:pt x="162425" y="-3197"/>
                      <a:pt x="152313" y="414"/>
                    </a:cubicBezTo>
                    <a:cubicBezTo>
                      <a:pt x="142201" y="4025"/>
                      <a:pt x="126310" y="35805"/>
                      <a:pt x="117643" y="48084"/>
                    </a:cubicBezTo>
                    <a:cubicBezTo>
                      <a:pt x="108976" y="60363"/>
                      <a:pt x="108254" y="67586"/>
                      <a:pt x="100309" y="74086"/>
                    </a:cubicBezTo>
                    <a:cubicBezTo>
                      <a:pt x="92364" y="80586"/>
                      <a:pt x="83696" y="82753"/>
                      <a:pt x="69973" y="87087"/>
                    </a:cubicBezTo>
                    <a:cubicBezTo>
                      <a:pt x="56250" y="91421"/>
                      <a:pt x="6413" y="70474"/>
                      <a:pt x="635" y="91420"/>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Shape 4">
                <a:extLst>
                  <a:ext uri="{FF2B5EF4-FFF2-40B4-BE49-F238E27FC236}">
                    <a16:creationId xmlns:a16="http://schemas.microsoft.com/office/drawing/2014/main" id="{9148F4CF-D5CF-44E4-A511-A19338EBDA84}"/>
                  </a:ext>
                </a:extLst>
              </p:cNvPr>
              <p:cNvSpPr/>
              <p:nvPr/>
            </p:nvSpPr>
            <p:spPr>
              <a:xfrm>
                <a:off x="8736637" y="2929547"/>
                <a:ext cx="8667" cy="125676"/>
              </a:xfrm>
              <a:custGeom>
                <a:avLst/>
                <a:gdLst>
                  <a:gd name="connsiteX0" fmla="*/ 0 w 8667"/>
                  <a:gd name="connsiteY0" fmla="*/ 0 h 125676"/>
                  <a:gd name="connsiteX1" fmla="*/ 8667 w 8667"/>
                  <a:gd name="connsiteY1" fmla="*/ 125676 h 125676"/>
                </a:gdLst>
                <a:ahLst/>
                <a:cxnLst>
                  <a:cxn ang="0">
                    <a:pos x="connsiteX0" y="connsiteY0"/>
                  </a:cxn>
                  <a:cxn ang="0">
                    <a:pos x="connsiteX1" y="connsiteY1"/>
                  </a:cxn>
                </a:cxnLst>
                <a:rect l="l" t="t" r="r" b="b"/>
                <a:pathLst>
                  <a:path w="8667" h="125676">
                    <a:moveTo>
                      <a:pt x="0" y="0"/>
                    </a:moveTo>
                    <a:lnTo>
                      <a:pt x="8667" y="125676"/>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Shape 7">
                <a:extLst>
                  <a:ext uri="{FF2B5EF4-FFF2-40B4-BE49-F238E27FC236}">
                    <a16:creationId xmlns:a16="http://schemas.microsoft.com/office/drawing/2014/main" id="{992C1AE3-1868-456A-B481-666900FB7872}"/>
                  </a:ext>
                </a:extLst>
              </p:cNvPr>
              <p:cNvSpPr/>
              <p:nvPr/>
            </p:nvSpPr>
            <p:spPr>
              <a:xfrm>
                <a:off x="8792974" y="2916546"/>
                <a:ext cx="17335" cy="99674"/>
              </a:xfrm>
              <a:custGeom>
                <a:avLst/>
                <a:gdLst>
                  <a:gd name="connsiteX0" fmla="*/ 0 w 17335"/>
                  <a:gd name="connsiteY0" fmla="*/ 0 h 99674"/>
                  <a:gd name="connsiteX1" fmla="*/ 17335 w 17335"/>
                  <a:gd name="connsiteY1" fmla="*/ 99674 h 99674"/>
                </a:gdLst>
                <a:ahLst/>
                <a:cxnLst>
                  <a:cxn ang="0">
                    <a:pos x="connsiteX0" y="connsiteY0"/>
                  </a:cxn>
                  <a:cxn ang="0">
                    <a:pos x="connsiteX1" y="connsiteY1"/>
                  </a:cxn>
                </a:cxnLst>
                <a:rect l="l" t="t" r="r" b="b"/>
                <a:pathLst>
                  <a:path w="17335" h="99674">
                    <a:moveTo>
                      <a:pt x="0" y="0"/>
                    </a:moveTo>
                    <a:lnTo>
                      <a:pt x="17335" y="99674"/>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24" name="Freeform: Shape 10">
              <a:extLst>
                <a:ext uri="{FF2B5EF4-FFF2-40B4-BE49-F238E27FC236}">
                  <a16:creationId xmlns:a16="http://schemas.microsoft.com/office/drawing/2014/main" id="{4D404496-9E39-4D91-9F59-6503F6D8EFDA}"/>
                </a:ext>
              </a:extLst>
            </p:cNvPr>
            <p:cNvSpPr/>
            <p:nvPr/>
          </p:nvSpPr>
          <p:spPr>
            <a:xfrm>
              <a:off x="573206" y="2354239"/>
              <a:ext cx="272955" cy="13648"/>
            </a:xfrm>
            <a:custGeom>
              <a:avLst/>
              <a:gdLst>
                <a:gd name="connsiteX0" fmla="*/ 272955 w 272955"/>
                <a:gd name="connsiteY0" fmla="*/ 6824 h 13648"/>
                <a:gd name="connsiteX1" fmla="*/ 197893 w 272955"/>
                <a:gd name="connsiteY1" fmla="*/ 0 h 13648"/>
                <a:gd name="connsiteX2" fmla="*/ 109182 w 272955"/>
                <a:gd name="connsiteY2" fmla="*/ 6824 h 13648"/>
                <a:gd name="connsiteX3" fmla="*/ 75063 w 272955"/>
                <a:gd name="connsiteY3" fmla="*/ 6824 h 13648"/>
                <a:gd name="connsiteX4" fmla="*/ 0 w 272955"/>
                <a:gd name="connsiteY4" fmla="*/ 13648 h 13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955" h="13648">
                  <a:moveTo>
                    <a:pt x="272955" y="6824"/>
                  </a:moveTo>
                  <a:cubicBezTo>
                    <a:pt x="249071" y="3412"/>
                    <a:pt x="225188" y="0"/>
                    <a:pt x="197893" y="0"/>
                  </a:cubicBezTo>
                  <a:cubicBezTo>
                    <a:pt x="170598" y="0"/>
                    <a:pt x="129654" y="5687"/>
                    <a:pt x="109182" y="6824"/>
                  </a:cubicBezTo>
                  <a:cubicBezTo>
                    <a:pt x="88710" y="7961"/>
                    <a:pt x="93260" y="5687"/>
                    <a:pt x="75063" y="6824"/>
                  </a:cubicBezTo>
                  <a:cubicBezTo>
                    <a:pt x="56866" y="7961"/>
                    <a:pt x="28433" y="10804"/>
                    <a:pt x="0" y="13648"/>
                  </a:cubicBezTo>
                </a:path>
              </a:pathLst>
            </a:cu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28" name="TextBox 33">
            <a:extLst>
              <a:ext uri="{FF2B5EF4-FFF2-40B4-BE49-F238E27FC236}">
                <a16:creationId xmlns:a16="http://schemas.microsoft.com/office/drawing/2014/main" id="{572BAA25-5807-4E8A-A51E-248384B47F2A}"/>
              </a:ext>
            </a:extLst>
          </p:cNvPr>
          <p:cNvSpPr txBox="1"/>
          <p:nvPr/>
        </p:nvSpPr>
        <p:spPr bwMode="auto">
          <a:xfrm>
            <a:off x="1788286" y="2104121"/>
            <a:ext cx="121632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D4D4D"/>
                </a:solidFill>
                <a:effectLst/>
                <a:uLnTx/>
                <a:uFillTx/>
                <a:latin typeface="Calibri"/>
                <a:ea typeface="+mn-ea"/>
                <a:cs typeface="+mn-cs"/>
              </a:rPr>
              <a:t>Pre-filled syringes</a:t>
            </a:r>
          </a:p>
        </p:txBody>
      </p:sp>
      <p:sp>
        <p:nvSpPr>
          <p:cNvPr id="30" name="TextBox 33">
            <a:extLst>
              <a:ext uri="{FF2B5EF4-FFF2-40B4-BE49-F238E27FC236}">
                <a16:creationId xmlns:a16="http://schemas.microsoft.com/office/drawing/2014/main" id="{B9B3FD53-5AB1-40BA-AA09-936938A36C29}"/>
              </a:ext>
            </a:extLst>
          </p:cNvPr>
          <p:cNvSpPr txBox="1"/>
          <p:nvPr/>
        </p:nvSpPr>
        <p:spPr bwMode="auto">
          <a:xfrm>
            <a:off x="1010672" y="2316397"/>
            <a:ext cx="106300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D4D4D"/>
                </a:solidFill>
                <a:effectLst/>
                <a:uLnTx/>
                <a:uFillTx/>
                <a:latin typeface="Calibri"/>
                <a:ea typeface="+mn-ea"/>
                <a:cs typeface="+mn-cs"/>
              </a:rPr>
              <a:t>Intravenous dosing</a:t>
            </a:r>
          </a:p>
        </p:txBody>
      </p:sp>
      <p:sp>
        <p:nvSpPr>
          <p:cNvPr id="31" name="TextBox 6">
            <a:extLst>
              <a:ext uri="{FF2B5EF4-FFF2-40B4-BE49-F238E27FC236}">
                <a16:creationId xmlns:a16="http://schemas.microsoft.com/office/drawing/2014/main" id="{E9A16E0E-AE67-4C3E-9557-E19CAC3BCF14}"/>
              </a:ext>
            </a:extLst>
          </p:cNvPr>
          <p:cNvSpPr txBox="1">
            <a:spLocks noChangeArrowheads="1"/>
          </p:cNvSpPr>
          <p:nvPr/>
        </p:nvSpPr>
        <p:spPr bwMode="auto">
          <a:xfrm>
            <a:off x="3755321" y="1307880"/>
            <a:ext cx="1522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60000"/>
              </a:spcAft>
              <a:defRPr>
                <a:solidFill>
                  <a:schemeClr val="tx1"/>
                </a:solidFill>
                <a:latin typeface="Arial" charset="0"/>
              </a:defRPr>
            </a:lvl6pPr>
            <a:lvl7pPr marL="2971800" indent="-228600" eaLnBrk="0" fontAlgn="base" hangingPunct="0">
              <a:spcBef>
                <a:spcPct val="0"/>
              </a:spcBef>
              <a:spcAft>
                <a:spcPct val="60000"/>
              </a:spcAft>
              <a:defRPr>
                <a:solidFill>
                  <a:schemeClr val="tx1"/>
                </a:solidFill>
                <a:latin typeface="Arial" charset="0"/>
              </a:defRPr>
            </a:lvl7pPr>
            <a:lvl8pPr marL="3429000" indent="-228600" eaLnBrk="0" fontAlgn="base" hangingPunct="0">
              <a:spcBef>
                <a:spcPct val="0"/>
              </a:spcBef>
              <a:spcAft>
                <a:spcPct val="60000"/>
              </a:spcAft>
              <a:defRPr>
                <a:solidFill>
                  <a:schemeClr val="tx1"/>
                </a:solidFill>
                <a:latin typeface="Arial" charset="0"/>
              </a:defRPr>
            </a:lvl8pPr>
            <a:lvl9pPr marL="3886200" indent="-228600" eaLnBrk="0" fontAlgn="base" hangingPunct="0">
              <a:spcBef>
                <a:spcPct val="0"/>
              </a:spcBef>
              <a:spcAft>
                <a:spcPct val="60000"/>
              </a:spcAft>
              <a:defRPr>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D4D"/>
                </a:solidFill>
                <a:effectLst/>
                <a:uLnTx/>
                <a:uFillTx/>
                <a:latin typeface="Calibri"/>
                <a:ea typeface="+mn-ea"/>
                <a:cs typeface="+mn-cs"/>
              </a:rPr>
              <a:t>Smart &amp; connected injection devices</a:t>
            </a:r>
          </a:p>
        </p:txBody>
      </p:sp>
      <p:grpSp>
        <p:nvGrpSpPr>
          <p:cNvPr id="32" name="Gruppieren 6">
            <a:extLst>
              <a:ext uri="{FF2B5EF4-FFF2-40B4-BE49-F238E27FC236}">
                <a16:creationId xmlns:a16="http://schemas.microsoft.com/office/drawing/2014/main" id="{93CEC8D9-6305-4F0C-96E2-4A4CCC4F1146}"/>
              </a:ext>
            </a:extLst>
          </p:cNvPr>
          <p:cNvGrpSpPr/>
          <p:nvPr/>
        </p:nvGrpSpPr>
        <p:grpSpPr>
          <a:xfrm>
            <a:off x="4037069" y="1778492"/>
            <a:ext cx="731612" cy="951098"/>
            <a:chOff x="4028333" y="1940503"/>
            <a:chExt cx="731612" cy="951098"/>
          </a:xfrm>
        </p:grpSpPr>
        <p:pic>
          <p:nvPicPr>
            <p:cNvPr id="33" name="Immagine 11">
              <a:extLst>
                <a:ext uri="{FF2B5EF4-FFF2-40B4-BE49-F238E27FC236}">
                  <a16:creationId xmlns:a16="http://schemas.microsoft.com/office/drawing/2014/main" id="{BC5E36D8-6E31-497E-B127-4E7215731AC6}"/>
                </a:ext>
              </a:extLst>
            </p:cNvPr>
            <p:cNvPicPr>
              <a:picLocks noChangeAspect="1"/>
            </p:cNvPicPr>
            <p:nvPr/>
          </p:nvPicPr>
          <p:blipFill rotWithShape="1">
            <a:blip r:embed="rId4">
              <a:biLevel thresh="75000"/>
              <a:extLst>
                <a:ext uri="{BEBA8EAE-BF5A-486C-A8C5-ECC9F3942E4B}">
                  <a14:imgProps xmlns:a14="http://schemas.microsoft.com/office/drawing/2010/main">
                    <a14:imgLayer r:embed="rId5">
                      <a14:imgEffect>
                        <a14:saturation sat="0"/>
                      </a14:imgEffect>
                      <a14:imgEffect>
                        <a14:brightnessContrast bright="40000" contrast="-40000"/>
                      </a14:imgEffect>
                    </a14:imgLayer>
                  </a14:imgProps>
                </a:ext>
              </a:extLst>
            </a:blip>
            <a:srcRect l="61993" t="43778" b="47749"/>
            <a:stretch/>
          </p:blipFill>
          <p:spPr>
            <a:xfrm rot="16200000">
              <a:off x="4200081" y="2331738"/>
              <a:ext cx="918535" cy="201192"/>
            </a:xfrm>
            <a:prstGeom prst="rect">
              <a:avLst/>
            </a:prstGeom>
          </p:spPr>
        </p:pic>
        <p:pic>
          <p:nvPicPr>
            <p:cNvPr id="34" name="Grafik 32" descr="Wi-Fi">
              <a:extLst>
                <a:ext uri="{FF2B5EF4-FFF2-40B4-BE49-F238E27FC236}">
                  <a16:creationId xmlns:a16="http://schemas.microsoft.com/office/drawing/2014/main" id="{A8065C98-1528-40CD-BFFC-474FC48063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28333" y="1940503"/>
              <a:ext cx="551261" cy="551261"/>
            </a:xfrm>
            <a:prstGeom prst="rect">
              <a:avLst/>
            </a:prstGeom>
          </p:spPr>
        </p:pic>
        <p:pic>
          <p:nvPicPr>
            <p:cNvPr id="35" name="Grafik 33" descr="Prozessor">
              <a:extLst>
                <a:ext uri="{FF2B5EF4-FFF2-40B4-BE49-F238E27FC236}">
                  <a16:creationId xmlns:a16="http://schemas.microsoft.com/office/drawing/2014/main" id="{01602248-0379-4D07-8703-90579BC109F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08086" y="2380874"/>
              <a:ext cx="386148" cy="386148"/>
            </a:xfrm>
            <a:prstGeom prst="rect">
              <a:avLst/>
            </a:prstGeom>
          </p:spPr>
        </p:pic>
      </p:grpSp>
      <p:grpSp>
        <p:nvGrpSpPr>
          <p:cNvPr id="36" name="Gruppieren 34">
            <a:extLst>
              <a:ext uri="{FF2B5EF4-FFF2-40B4-BE49-F238E27FC236}">
                <a16:creationId xmlns:a16="http://schemas.microsoft.com/office/drawing/2014/main" id="{497BE138-07FC-4D1B-9C38-146EDF079062}"/>
              </a:ext>
            </a:extLst>
          </p:cNvPr>
          <p:cNvGrpSpPr/>
          <p:nvPr/>
        </p:nvGrpSpPr>
        <p:grpSpPr>
          <a:xfrm>
            <a:off x="6927967" y="1252838"/>
            <a:ext cx="176498" cy="681712"/>
            <a:chOff x="6076838" y="1663212"/>
            <a:chExt cx="176498" cy="681712"/>
          </a:xfrm>
        </p:grpSpPr>
        <p:pic>
          <p:nvPicPr>
            <p:cNvPr id="37" name="Immagine 55">
              <a:extLst>
                <a:ext uri="{FF2B5EF4-FFF2-40B4-BE49-F238E27FC236}">
                  <a16:creationId xmlns:a16="http://schemas.microsoft.com/office/drawing/2014/main" id="{718B99C1-D89C-458A-989B-960047A63C0C}"/>
                </a:ext>
              </a:extLst>
            </p:cNvPr>
            <p:cNvPicPr>
              <a:picLocks noChangeAspect="1"/>
            </p:cNvPicPr>
            <p:nvPr/>
          </p:nvPicPr>
          <p:blipFill rotWithShape="1">
            <a:blip r:embed="rId4">
              <a:biLevel thresh="75000"/>
              <a:extLst>
                <a:ext uri="{BEBA8EAE-BF5A-486C-A8C5-ECC9F3942E4B}">
                  <a14:imgProps xmlns:a14="http://schemas.microsoft.com/office/drawing/2010/main">
                    <a14:imgLayer r:embed="rId5">
                      <a14:imgEffect>
                        <a14:saturation sat="0"/>
                      </a14:imgEffect>
                      <a14:imgEffect>
                        <a14:brightnessContrast bright="40000" contrast="-40000"/>
                      </a14:imgEffect>
                    </a14:imgLayer>
                  </a14:imgProps>
                </a:ext>
              </a:extLst>
            </a:blip>
            <a:srcRect l="54166" t="56393" r="7827" b="35134"/>
            <a:stretch/>
          </p:blipFill>
          <p:spPr>
            <a:xfrm rot="16200000">
              <a:off x="5927858" y="1812920"/>
              <a:ext cx="475186" cy="175770"/>
            </a:xfrm>
            <a:prstGeom prst="rect">
              <a:avLst/>
            </a:prstGeom>
          </p:spPr>
        </p:pic>
        <p:grpSp>
          <p:nvGrpSpPr>
            <p:cNvPr id="38" name="Gruppieren 36">
              <a:extLst>
                <a:ext uri="{FF2B5EF4-FFF2-40B4-BE49-F238E27FC236}">
                  <a16:creationId xmlns:a16="http://schemas.microsoft.com/office/drawing/2014/main" id="{4A143E0A-BFBD-43AD-861D-DDA884198AA0}"/>
                </a:ext>
              </a:extLst>
            </p:cNvPr>
            <p:cNvGrpSpPr/>
            <p:nvPr/>
          </p:nvGrpSpPr>
          <p:grpSpPr>
            <a:xfrm>
              <a:off x="6076838" y="2179919"/>
              <a:ext cx="172570" cy="165005"/>
              <a:chOff x="6561563" y="2102626"/>
              <a:chExt cx="172570" cy="165005"/>
            </a:xfrm>
          </p:grpSpPr>
          <p:sp>
            <p:nvSpPr>
              <p:cNvPr id="39" name="Ellipse 37">
                <a:extLst>
                  <a:ext uri="{FF2B5EF4-FFF2-40B4-BE49-F238E27FC236}">
                    <a16:creationId xmlns:a16="http://schemas.microsoft.com/office/drawing/2014/main" id="{008AE3D6-622C-4E77-B5B2-A35E26F7CF85}"/>
                  </a:ext>
                </a:extLst>
              </p:cNvPr>
              <p:cNvSpPr>
                <a:spLocks noChangeAspect="1"/>
              </p:cNvSpPr>
              <p:nvPr/>
            </p:nvSpPr>
            <p:spPr>
              <a:xfrm>
                <a:off x="6614253" y="2153550"/>
                <a:ext cx="45990" cy="45719"/>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Ellipse 38">
                <a:extLst>
                  <a:ext uri="{FF2B5EF4-FFF2-40B4-BE49-F238E27FC236}">
                    <a16:creationId xmlns:a16="http://schemas.microsoft.com/office/drawing/2014/main" id="{CF6342B4-ED3E-4895-9B02-3E0271E74348}"/>
                  </a:ext>
                </a:extLst>
              </p:cNvPr>
              <p:cNvSpPr>
                <a:spLocks noChangeAspect="1"/>
              </p:cNvSpPr>
              <p:nvPr/>
            </p:nvSpPr>
            <p:spPr>
              <a:xfrm>
                <a:off x="6688143" y="2172419"/>
                <a:ext cx="45990" cy="45719"/>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Ellipse 39">
                <a:extLst>
                  <a:ext uri="{FF2B5EF4-FFF2-40B4-BE49-F238E27FC236}">
                    <a16:creationId xmlns:a16="http://schemas.microsoft.com/office/drawing/2014/main" id="{C1814E7D-02C2-452C-9A7F-CA6D0B27A9D6}"/>
                  </a:ext>
                </a:extLst>
              </p:cNvPr>
              <p:cNvSpPr>
                <a:spLocks noChangeAspect="1"/>
              </p:cNvSpPr>
              <p:nvPr/>
            </p:nvSpPr>
            <p:spPr>
              <a:xfrm>
                <a:off x="6561563" y="2219768"/>
                <a:ext cx="45990" cy="45719"/>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Ellipse 40">
                <a:extLst>
                  <a:ext uri="{FF2B5EF4-FFF2-40B4-BE49-F238E27FC236}">
                    <a16:creationId xmlns:a16="http://schemas.microsoft.com/office/drawing/2014/main" id="{8ACC2B55-3106-407F-AD07-A2E94B8487A8}"/>
                  </a:ext>
                </a:extLst>
              </p:cNvPr>
              <p:cNvSpPr>
                <a:spLocks noChangeAspect="1"/>
              </p:cNvSpPr>
              <p:nvPr/>
            </p:nvSpPr>
            <p:spPr>
              <a:xfrm>
                <a:off x="6637248" y="2102626"/>
                <a:ext cx="18000" cy="17894"/>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Ellipse 41">
                <a:extLst>
                  <a:ext uri="{FF2B5EF4-FFF2-40B4-BE49-F238E27FC236}">
                    <a16:creationId xmlns:a16="http://schemas.microsoft.com/office/drawing/2014/main" id="{5F1B9433-E178-45C0-8370-ABA349359613}"/>
                  </a:ext>
                </a:extLst>
              </p:cNvPr>
              <p:cNvSpPr>
                <a:spLocks noChangeAspect="1"/>
              </p:cNvSpPr>
              <p:nvPr/>
            </p:nvSpPr>
            <p:spPr>
              <a:xfrm>
                <a:off x="6716133" y="2249737"/>
                <a:ext cx="18000" cy="17894"/>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Ellipse 42">
                <a:extLst>
                  <a:ext uri="{FF2B5EF4-FFF2-40B4-BE49-F238E27FC236}">
                    <a16:creationId xmlns:a16="http://schemas.microsoft.com/office/drawing/2014/main" id="{AA1C33A8-D7BD-4A4E-805E-724FEE966FDD}"/>
                  </a:ext>
                </a:extLst>
              </p:cNvPr>
              <p:cNvSpPr>
                <a:spLocks noChangeAspect="1"/>
              </p:cNvSpPr>
              <p:nvPr/>
            </p:nvSpPr>
            <p:spPr>
              <a:xfrm>
                <a:off x="6648330" y="2240790"/>
                <a:ext cx="18000" cy="17894"/>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grpSp>
      </p:grpSp>
      <p:pic>
        <p:nvPicPr>
          <p:cNvPr id="45" name="Immagine 55">
            <a:extLst>
              <a:ext uri="{FF2B5EF4-FFF2-40B4-BE49-F238E27FC236}">
                <a16:creationId xmlns:a16="http://schemas.microsoft.com/office/drawing/2014/main" id="{E064C997-71D9-4BAA-8048-F0394907A39F}"/>
              </a:ext>
            </a:extLst>
          </p:cNvPr>
          <p:cNvPicPr>
            <a:picLocks noChangeAspect="1"/>
          </p:cNvPicPr>
          <p:nvPr/>
        </p:nvPicPr>
        <p:blipFill rotWithShape="1">
          <a:blip r:embed="rId4">
            <a:biLevel thresh="75000"/>
            <a:extLst>
              <a:ext uri="{BEBA8EAE-BF5A-486C-A8C5-ECC9F3942E4B}">
                <a14:imgProps xmlns:a14="http://schemas.microsoft.com/office/drawing/2010/main">
                  <a14:imgLayer r:embed="rId5">
                    <a14:imgEffect>
                      <a14:saturation sat="0"/>
                    </a14:imgEffect>
                    <a14:imgEffect>
                      <a14:brightnessContrast bright="40000" contrast="-40000"/>
                    </a14:imgEffect>
                  </a14:imgLayer>
                </a14:imgProps>
              </a:ext>
            </a:extLst>
          </a:blip>
          <a:srcRect l="54166" t="56393" r="7827" b="35134"/>
          <a:stretch/>
        </p:blipFill>
        <p:spPr>
          <a:xfrm rot="16200000">
            <a:off x="7218466" y="1402236"/>
            <a:ext cx="475186" cy="175770"/>
          </a:xfrm>
          <a:prstGeom prst="rect">
            <a:avLst/>
          </a:prstGeom>
        </p:spPr>
      </p:pic>
      <p:cxnSp>
        <p:nvCxnSpPr>
          <p:cNvPr id="46" name="Gerader Verbinder 44">
            <a:extLst>
              <a:ext uri="{FF2B5EF4-FFF2-40B4-BE49-F238E27FC236}">
                <a16:creationId xmlns:a16="http://schemas.microsoft.com/office/drawing/2014/main" id="{F2D6DD6A-F73F-448D-A733-5201F3C471A5}"/>
              </a:ext>
            </a:extLst>
          </p:cNvPr>
          <p:cNvCxnSpPr/>
          <p:nvPr/>
        </p:nvCxnSpPr>
        <p:spPr>
          <a:xfrm>
            <a:off x="7459676" y="1766736"/>
            <a:ext cx="0" cy="16781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Kreis: nicht ausgefüllt 45">
            <a:extLst>
              <a:ext uri="{FF2B5EF4-FFF2-40B4-BE49-F238E27FC236}">
                <a16:creationId xmlns:a16="http://schemas.microsoft.com/office/drawing/2014/main" id="{AB92C4BD-9C34-4730-A428-DEC3A99B8C29}"/>
              </a:ext>
            </a:extLst>
          </p:cNvPr>
          <p:cNvSpPr>
            <a:spLocks noChangeAspect="1"/>
          </p:cNvSpPr>
          <p:nvPr/>
        </p:nvSpPr>
        <p:spPr>
          <a:xfrm>
            <a:off x="7721792" y="1366689"/>
            <a:ext cx="276756" cy="276318"/>
          </a:xfrm>
          <a:prstGeom prst="donut">
            <a:avLst>
              <a:gd name="adj" fmla="val 7592"/>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262626"/>
              </a:solidFill>
              <a:effectLst/>
              <a:uLnTx/>
              <a:uFillTx/>
              <a:latin typeface="Calibri"/>
              <a:ea typeface="+mn-ea"/>
              <a:cs typeface="+mn-cs"/>
            </a:endParaRPr>
          </a:p>
        </p:txBody>
      </p:sp>
      <p:grpSp>
        <p:nvGrpSpPr>
          <p:cNvPr id="48" name="Gruppieren 46">
            <a:extLst>
              <a:ext uri="{FF2B5EF4-FFF2-40B4-BE49-F238E27FC236}">
                <a16:creationId xmlns:a16="http://schemas.microsoft.com/office/drawing/2014/main" id="{DA119DDE-2BE0-4A4A-887F-DA4C64FB3821}"/>
              </a:ext>
            </a:extLst>
          </p:cNvPr>
          <p:cNvGrpSpPr>
            <a:grpSpLocks noChangeAspect="1"/>
          </p:cNvGrpSpPr>
          <p:nvPr/>
        </p:nvGrpSpPr>
        <p:grpSpPr>
          <a:xfrm>
            <a:off x="7900065" y="1516294"/>
            <a:ext cx="374414" cy="352136"/>
            <a:chOff x="7789334" y="1570181"/>
            <a:chExt cx="351540" cy="330624"/>
          </a:xfrm>
        </p:grpSpPr>
        <p:sp>
          <p:nvSpPr>
            <p:cNvPr id="49" name="Bogen 47">
              <a:extLst>
                <a:ext uri="{FF2B5EF4-FFF2-40B4-BE49-F238E27FC236}">
                  <a16:creationId xmlns:a16="http://schemas.microsoft.com/office/drawing/2014/main" id="{7B954721-B335-4D2C-9AB7-B6ACEA472203}"/>
                </a:ext>
              </a:extLst>
            </p:cNvPr>
            <p:cNvSpPr/>
            <p:nvPr/>
          </p:nvSpPr>
          <p:spPr>
            <a:xfrm>
              <a:off x="7789334" y="1570182"/>
              <a:ext cx="175770" cy="83353"/>
            </a:xfrm>
            <a:prstGeom prst="arc">
              <a:avLst>
                <a:gd name="adj1" fmla="val 10888134"/>
                <a:gd name="adj2" fmla="val 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262626"/>
                </a:solidFill>
                <a:effectLst/>
                <a:uLnTx/>
                <a:uFillTx/>
                <a:latin typeface="Calibri"/>
                <a:ea typeface="+mn-ea"/>
                <a:cs typeface="+mn-cs"/>
              </a:endParaRPr>
            </a:p>
          </p:txBody>
        </p:sp>
        <p:sp>
          <p:nvSpPr>
            <p:cNvPr id="50" name="Bogen 48">
              <a:extLst>
                <a:ext uri="{FF2B5EF4-FFF2-40B4-BE49-F238E27FC236}">
                  <a16:creationId xmlns:a16="http://schemas.microsoft.com/office/drawing/2014/main" id="{DB404D5D-1340-4880-8FD8-D39A791C2F57}"/>
                </a:ext>
              </a:extLst>
            </p:cNvPr>
            <p:cNvSpPr/>
            <p:nvPr/>
          </p:nvSpPr>
          <p:spPr>
            <a:xfrm>
              <a:off x="7965104" y="1570181"/>
              <a:ext cx="175770" cy="83353"/>
            </a:xfrm>
            <a:prstGeom prst="arc">
              <a:avLst>
                <a:gd name="adj1" fmla="val 10888134"/>
                <a:gd name="adj2" fmla="val 0"/>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262626"/>
                </a:solidFill>
                <a:effectLst/>
                <a:uLnTx/>
                <a:uFillTx/>
                <a:latin typeface="Calibri"/>
                <a:ea typeface="+mn-ea"/>
                <a:cs typeface="+mn-cs"/>
              </a:endParaRPr>
            </a:p>
          </p:txBody>
        </p:sp>
        <p:cxnSp>
          <p:nvCxnSpPr>
            <p:cNvPr id="51" name="Gerader Verbinder 49">
              <a:extLst>
                <a:ext uri="{FF2B5EF4-FFF2-40B4-BE49-F238E27FC236}">
                  <a16:creationId xmlns:a16="http://schemas.microsoft.com/office/drawing/2014/main" id="{E9A95856-4901-4F73-8BAD-FCF7D9367014}"/>
                </a:ext>
              </a:extLst>
            </p:cNvPr>
            <p:cNvCxnSpPr>
              <a:cxnSpLocks/>
              <a:stCxn id="50" idx="0"/>
            </p:cNvCxnSpPr>
            <p:nvPr/>
          </p:nvCxnSpPr>
          <p:spPr>
            <a:xfrm flipH="1">
              <a:off x="7965104" y="1609607"/>
              <a:ext cx="128" cy="29119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Rechteck: abgerundete Ecken 50">
              <a:extLst>
                <a:ext uri="{FF2B5EF4-FFF2-40B4-BE49-F238E27FC236}">
                  <a16:creationId xmlns:a16="http://schemas.microsoft.com/office/drawing/2014/main" id="{B99C5903-060B-4713-8F9D-62E423D86EE2}"/>
                </a:ext>
              </a:extLst>
            </p:cNvPr>
            <p:cNvSpPr/>
            <p:nvPr/>
          </p:nvSpPr>
          <p:spPr>
            <a:xfrm>
              <a:off x="7939231" y="1639588"/>
              <a:ext cx="45719" cy="193033"/>
            </a:xfrm>
            <a:prstGeom prst="roundRect">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66" name="Freihandform: Form 64">
            <a:extLst>
              <a:ext uri="{FF2B5EF4-FFF2-40B4-BE49-F238E27FC236}">
                <a16:creationId xmlns:a16="http://schemas.microsoft.com/office/drawing/2014/main" id="{E53C11D9-47A8-4159-814E-6C791F997736}"/>
              </a:ext>
            </a:extLst>
          </p:cNvPr>
          <p:cNvSpPr/>
          <p:nvPr/>
        </p:nvSpPr>
        <p:spPr>
          <a:xfrm>
            <a:off x="922829" y="1984069"/>
            <a:ext cx="7238958" cy="1788194"/>
          </a:xfrm>
          <a:custGeom>
            <a:avLst/>
            <a:gdLst>
              <a:gd name="connsiteX0" fmla="*/ 0 w 4410075"/>
              <a:gd name="connsiteY0" fmla="*/ 495300 h 495300"/>
              <a:gd name="connsiteX1" fmla="*/ 4410075 w 4410075"/>
              <a:gd name="connsiteY1" fmla="*/ 0 h 495300"/>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 name="connsiteX0" fmla="*/ 0 w 4488455"/>
              <a:gd name="connsiteY0" fmla="*/ 527589 h 527589"/>
              <a:gd name="connsiteX1" fmla="*/ 4488455 w 4488455"/>
              <a:gd name="connsiteY1" fmla="*/ 0 h 527589"/>
            </a:gdLst>
            <a:ahLst/>
            <a:cxnLst>
              <a:cxn ang="0">
                <a:pos x="connsiteX0" y="connsiteY0"/>
              </a:cxn>
              <a:cxn ang="0">
                <a:pos x="connsiteX1" y="connsiteY1"/>
              </a:cxn>
            </a:cxnLst>
            <a:rect l="l" t="t" r="r" b="b"/>
            <a:pathLst>
              <a:path w="4488455" h="527589">
                <a:moveTo>
                  <a:pt x="0" y="527589"/>
                </a:moveTo>
                <a:cubicBezTo>
                  <a:pt x="2022366" y="362050"/>
                  <a:pt x="2369440" y="334096"/>
                  <a:pt x="4488455" y="0"/>
                </a:cubicBezTo>
              </a:path>
            </a:pathLst>
          </a:custGeom>
          <a:ln w="28575">
            <a:headEnd type="none" w="med" len="med"/>
            <a:tailEnd type="triangle" w="lg" len="lg"/>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262626"/>
              </a:solidFill>
              <a:effectLst/>
              <a:uLnTx/>
              <a:uFillTx/>
              <a:latin typeface="Calibri"/>
              <a:ea typeface="+mn-ea"/>
              <a:cs typeface="+mn-cs"/>
            </a:endParaRPr>
          </a:p>
        </p:txBody>
      </p:sp>
      <p:sp>
        <p:nvSpPr>
          <p:cNvPr id="67" name="Textfeld 65">
            <a:extLst>
              <a:ext uri="{FF2B5EF4-FFF2-40B4-BE49-F238E27FC236}">
                <a16:creationId xmlns:a16="http://schemas.microsoft.com/office/drawing/2014/main" id="{7153DB9F-8623-43B8-9229-A9EEE1EFB5EE}"/>
              </a:ext>
            </a:extLst>
          </p:cNvPr>
          <p:cNvSpPr txBox="1"/>
          <p:nvPr/>
        </p:nvSpPr>
        <p:spPr>
          <a:xfrm>
            <a:off x="1095891" y="3693631"/>
            <a:ext cx="1150959" cy="461665"/>
          </a:xfrm>
          <a:prstGeom prst="rect">
            <a:avLst/>
          </a:prstGeom>
          <a:noFill/>
        </p:spPr>
        <p:txBody>
          <a:bodyPr wrap="square" rtlCol="0">
            <a:spAutoFit/>
          </a:bodyPr>
          <a:lstStyle/>
          <a:p>
            <a:pPr marR="0" lvl="0" indent="0" algn="ctr" fontAlgn="auto">
              <a:lnSpc>
                <a:spcPct val="100000"/>
              </a:lnSpc>
              <a:spcBef>
                <a:spcPts val="0"/>
              </a:spcBef>
              <a:spcAft>
                <a:spcPts val="0"/>
              </a:spcAft>
              <a:buClrTx/>
              <a:buSzTx/>
              <a:buFontTx/>
              <a:buNone/>
              <a:tabLst/>
              <a:defRPr/>
            </a:pPr>
            <a:r>
              <a:rPr lang="de-DE" sz="1200" b="1" i="1" dirty="0" err="1">
                <a:solidFill>
                  <a:schemeClr val="tx2"/>
                </a:solidFill>
                <a:latin typeface="Calibri"/>
              </a:rPr>
              <a:t>Ateva</a:t>
            </a:r>
            <a:r>
              <a:rPr lang="de-DE" sz="1200" b="1" i="1" dirty="0">
                <a:solidFill>
                  <a:schemeClr val="tx2"/>
                </a:solidFill>
                <a:latin typeface="Calibri"/>
              </a:rPr>
              <a:t>® G EVA &amp; LDPE</a:t>
            </a:r>
          </a:p>
        </p:txBody>
      </p:sp>
      <p:sp>
        <p:nvSpPr>
          <p:cNvPr id="68" name="Textfeld 66">
            <a:extLst>
              <a:ext uri="{FF2B5EF4-FFF2-40B4-BE49-F238E27FC236}">
                <a16:creationId xmlns:a16="http://schemas.microsoft.com/office/drawing/2014/main" id="{6C1268E3-921B-4B43-BF1E-94067D1DF96E}"/>
              </a:ext>
            </a:extLst>
          </p:cNvPr>
          <p:cNvSpPr txBox="1"/>
          <p:nvPr/>
        </p:nvSpPr>
        <p:spPr>
          <a:xfrm>
            <a:off x="2387455" y="3447058"/>
            <a:ext cx="1888160" cy="646331"/>
          </a:xfrm>
          <a:prstGeom prst="rect">
            <a:avLst/>
          </a:prstGeom>
          <a:noFill/>
        </p:spPr>
        <p:txBody>
          <a:bodyPr wrap="square" rtlCol="0">
            <a:spAutoFit/>
          </a:bodyPr>
          <a:lstStyle/>
          <a:p>
            <a:pPr algn="ctr">
              <a:defRPr/>
            </a:pPr>
            <a:r>
              <a:rPr lang="de-DE" sz="1200" b="1" i="1" dirty="0" err="1">
                <a:solidFill>
                  <a:schemeClr val="tx2"/>
                </a:solidFill>
                <a:latin typeface="Calibri"/>
              </a:rPr>
              <a:t>Hostaform</a:t>
            </a:r>
            <a:r>
              <a:rPr lang="de-DE" sz="1200" b="1" i="1" dirty="0">
                <a:solidFill>
                  <a:schemeClr val="tx2"/>
                </a:solidFill>
                <a:latin typeface="Calibri"/>
              </a:rPr>
              <a:t>® MT® POM</a:t>
            </a:r>
          </a:p>
          <a:p>
            <a:pPr algn="ctr">
              <a:defRPr/>
            </a:pPr>
            <a:r>
              <a:rPr lang="de-DE" sz="1200" b="1" i="1" dirty="0" err="1">
                <a:solidFill>
                  <a:schemeClr val="tx2"/>
                </a:solidFill>
                <a:latin typeface="Calibri"/>
              </a:rPr>
              <a:t>Celanex</a:t>
            </a:r>
            <a:r>
              <a:rPr lang="de-DE" sz="1200" b="1" i="1" dirty="0">
                <a:solidFill>
                  <a:schemeClr val="tx2"/>
                </a:solidFill>
                <a:latin typeface="Calibri"/>
              </a:rPr>
              <a:t>® MT® PBT</a:t>
            </a:r>
          </a:p>
          <a:p>
            <a:pPr algn="ctr">
              <a:defRPr/>
            </a:pPr>
            <a:r>
              <a:rPr lang="de-DE" sz="1200" b="1" i="1" dirty="0" err="1">
                <a:solidFill>
                  <a:schemeClr val="tx2"/>
                </a:solidFill>
                <a:latin typeface="Calibri"/>
              </a:rPr>
              <a:t>Pibiflex</a:t>
            </a:r>
            <a:r>
              <a:rPr lang="de-DE" sz="1200" b="1" i="1" dirty="0">
                <a:solidFill>
                  <a:schemeClr val="tx2"/>
                </a:solidFill>
                <a:latin typeface="Calibri"/>
              </a:rPr>
              <a:t>® TPE</a:t>
            </a:r>
          </a:p>
        </p:txBody>
      </p:sp>
      <p:sp>
        <p:nvSpPr>
          <p:cNvPr id="69" name="Textfeld 67">
            <a:extLst>
              <a:ext uri="{FF2B5EF4-FFF2-40B4-BE49-F238E27FC236}">
                <a16:creationId xmlns:a16="http://schemas.microsoft.com/office/drawing/2014/main" id="{16588E3E-F5BC-4501-8CD2-5C608E4908C8}"/>
              </a:ext>
            </a:extLst>
          </p:cNvPr>
          <p:cNvSpPr txBox="1"/>
          <p:nvPr/>
        </p:nvSpPr>
        <p:spPr>
          <a:xfrm>
            <a:off x="4092600" y="3070653"/>
            <a:ext cx="188816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1" u="none" strike="noStrike" kern="1200" cap="none" spc="0" normalizeH="0" baseline="0" noProof="0" dirty="0">
                <a:ln>
                  <a:noFill/>
                </a:ln>
                <a:solidFill>
                  <a:schemeClr val="tx2"/>
                </a:solidFill>
                <a:effectLst/>
                <a:uLnTx/>
                <a:uFillTx/>
                <a:latin typeface="Calibri"/>
                <a:ea typeface="+mn-ea"/>
                <a:cs typeface="+mn-cs"/>
              </a:rPr>
              <a:t>Vectra® MT® L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1" u="none" strike="noStrike" kern="1200" cap="none" spc="0" normalizeH="0" baseline="0" noProof="0" dirty="0" err="1">
                <a:ln>
                  <a:noFill/>
                </a:ln>
                <a:solidFill>
                  <a:schemeClr val="tx2"/>
                </a:solidFill>
                <a:effectLst/>
                <a:uLnTx/>
                <a:uFillTx/>
                <a:latin typeface="Calibri"/>
                <a:ea typeface="+mn-ea"/>
                <a:cs typeface="+mn-cs"/>
              </a:rPr>
              <a:t>Hostaform</a:t>
            </a:r>
            <a:r>
              <a:rPr kumimoji="0" lang="de-DE" sz="1200" b="1" i="1" u="none" strike="noStrike" kern="1200" cap="none" spc="0" normalizeH="0" baseline="0" noProof="0" dirty="0">
                <a:ln>
                  <a:noFill/>
                </a:ln>
                <a:solidFill>
                  <a:schemeClr val="tx2"/>
                </a:solidFill>
                <a:effectLst/>
                <a:uLnTx/>
                <a:uFillTx/>
                <a:latin typeface="Calibri"/>
                <a:ea typeface="+mn-ea"/>
                <a:cs typeface="+mn-cs"/>
              </a:rPr>
              <a:t>® MT® P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1" u="none" strike="noStrike" kern="1200" cap="none" spc="0" normalizeH="0" baseline="0" noProof="0" dirty="0" err="1">
                <a:ln>
                  <a:noFill/>
                </a:ln>
                <a:solidFill>
                  <a:schemeClr val="tx2"/>
                </a:solidFill>
                <a:effectLst/>
                <a:uLnTx/>
                <a:uFillTx/>
                <a:latin typeface="Calibri"/>
                <a:ea typeface="+mn-ea"/>
                <a:cs typeface="+mn-cs"/>
              </a:rPr>
              <a:t>Celanex</a:t>
            </a:r>
            <a:r>
              <a:rPr kumimoji="0" lang="de-DE" sz="1200" b="1" i="1" u="none" strike="noStrike" kern="1200" cap="none" spc="0" normalizeH="0" baseline="0" noProof="0" dirty="0">
                <a:ln>
                  <a:noFill/>
                </a:ln>
                <a:solidFill>
                  <a:schemeClr val="tx2"/>
                </a:solidFill>
                <a:effectLst/>
                <a:uLnTx/>
                <a:uFillTx/>
                <a:latin typeface="Calibri"/>
                <a:ea typeface="+mn-ea"/>
                <a:cs typeface="+mn-cs"/>
              </a:rPr>
              <a:t>® MT® PBT</a:t>
            </a:r>
          </a:p>
        </p:txBody>
      </p:sp>
      <p:sp>
        <p:nvSpPr>
          <p:cNvPr id="70" name="Textfeld 68">
            <a:extLst>
              <a:ext uri="{FF2B5EF4-FFF2-40B4-BE49-F238E27FC236}">
                <a16:creationId xmlns:a16="http://schemas.microsoft.com/office/drawing/2014/main" id="{2B9A883E-0FC1-4983-893A-8BE9FB9E8020}"/>
              </a:ext>
            </a:extLst>
          </p:cNvPr>
          <p:cNvSpPr txBox="1"/>
          <p:nvPr/>
        </p:nvSpPr>
        <p:spPr>
          <a:xfrm>
            <a:off x="5759051" y="2742171"/>
            <a:ext cx="1349130" cy="276999"/>
          </a:xfrm>
          <a:prstGeom prst="rect">
            <a:avLst/>
          </a:prstGeom>
          <a:noFill/>
        </p:spPr>
        <p:txBody>
          <a:bodyPr wrap="square" rtlCol="0">
            <a:spAutoFit/>
          </a:bodyPr>
          <a:lstStyle/>
          <a:p>
            <a:pPr algn="ctr">
              <a:spcBef>
                <a:spcPts val="0"/>
              </a:spcBef>
              <a:spcAft>
                <a:spcPts val="0"/>
              </a:spcAft>
              <a:defRPr/>
            </a:pPr>
            <a:r>
              <a:rPr lang="de-DE" sz="1200" b="1" i="1" dirty="0">
                <a:solidFill>
                  <a:schemeClr val="tx2"/>
                </a:solidFill>
                <a:latin typeface="Calibri"/>
              </a:rPr>
              <a:t>Vectra® MT® LCP</a:t>
            </a:r>
          </a:p>
        </p:txBody>
      </p:sp>
      <p:sp>
        <p:nvSpPr>
          <p:cNvPr id="71" name="Textfeld 69">
            <a:extLst>
              <a:ext uri="{FF2B5EF4-FFF2-40B4-BE49-F238E27FC236}">
                <a16:creationId xmlns:a16="http://schemas.microsoft.com/office/drawing/2014/main" id="{6874A286-548F-43E4-83A0-9FECCE781E72}"/>
              </a:ext>
            </a:extLst>
          </p:cNvPr>
          <p:cNvSpPr txBox="1"/>
          <p:nvPr/>
        </p:nvSpPr>
        <p:spPr>
          <a:xfrm>
            <a:off x="7088153" y="2262609"/>
            <a:ext cx="1406261" cy="276999"/>
          </a:xfrm>
          <a:prstGeom prst="rect">
            <a:avLst/>
          </a:prstGeom>
          <a:noFill/>
        </p:spPr>
        <p:txBody>
          <a:bodyPr wrap="square" rtlCol="0">
            <a:spAutoFit/>
          </a:bodyPr>
          <a:lstStyle/>
          <a:p>
            <a:pPr lvl="0" algn="ctr">
              <a:defRPr/>
            </a:pPr>
            <a:r>
              <a:rPr kumimoji="0" lang="de-DE" sz="1200" b="1" i="0" u="none" strike="noStrike" kern="1200" cap="none" spc="0" normalizeH="0" baseline="0" noProof="0" dirty="0" err="1">
                <a:ln>
                  <a:noFill/>
                </a:ln>
                <a:solidFill>
                  <a:schemeClr val="tx2"/>
                </a:solidFill>
                <a:effectLst/>
                <a:uLnTx/>
                <a:uFillTx/>
                <a:latin typeface="Calibri"/>
                <a:ea typeface="+mn-ea"/>
                <a:cs typeface="+mn-cs"/>
              </a:rPr>
              <a:t>VitalDose</a:t>
            </a:r>
            <a:r>
              <a:rPr lang="de-DE" sz="1200" b="1" dirty="0">
                <a:solidFill>
                  <a:schemeClr val="tx2"/>
                </a:solidFill>
                <a:latin typeface="Calibri"/>
              </a:rPr>
              <a:t>®</a:t>
            </a:r>
            <a:r>
              <a:rPr kumimoji="0" lang="de-DE" sz="1200" b="1" i="0" u="none" strike="noStrike" kern="1200" cap="none" spc="0" normalizeH="0" baseline="0" noProof="0" dirty="0">
                <a:ln>
                  <a:noFill/>
                </a:ln>
                <a:solidFill>
                  <a:schemeClr val="tx2"/>
                </a:solidFill>
                <a:effectLst/>
                <a:uLnTx/>
                <a:uFillTx/>
                <a:latin typeface="Calibri"/>
                <a:ea typeface="+mn-ea"/>
                <a:cs typeface="+mn-cs"/>
              </a:rPr>
              <a:t> EVA</a:t>
            </a:r>
          </a:p>
        </p:txBody>
      </p:sp>
      <p:sp>
        <p:nvSpPr>
          <p:cNvPr id="72" name="Textfeld 70">
            <a:extLst>
              <a:ext uri="{FF2B5EF4-FFF2-40B4-BE49-F238E27FC236}">
                <a16:creationId xmlns:a16="http://schemas.microsoft.com/office/drawing/2014/main" id="{0FD12C03-7F8E-4C4C-98FC-72C6418DAFA4}"/>
              </a:ext>
            </a:extLst>
          </p:cNvPr>
          <p:cNvSpPr txBox="1"/>
          <p:nvPr/>
        </p:nvSpPr>
        <p:spPr>
          <a:xfrm>
            <a:off x="7089699" y="3057832"/>
            <a:ext cx="1671082" cy="760095"/>
          </a:xfrm>
          <a:prstGeom prst="roundRect">
            <a:avLst>
              <a:gd name="adj" fmla="val 6198"/>
            </a:avLst>
          </a:prstGeom>
          <a:noFill/>
          <a:ln w="12700">
            <a:solidFill>
              <a:schemeClr val="tx2"/>
            </a:solidFill>
          </a:ln>
        </p:spPr>
        <p:txBody>
          <a:bodyPr wrap="square" rtlCol="0">
            <a:spAutoFit/>
          </a:bodyPr>
          <a:lstStyle/>
          <a:p>
            <a:pPr marL="0" marR="0" lvl="0" indent="0" algn="ctr" defTabSz="914400" rtl="0" eaLnBrk="1" fontAlgn="auto" latinLnBrk="0" hangingPunct="1">
              <a:lnSpc>
                <a:spcPct val="100000"/>
              </a:lnSpc>
              <a:buClrTx/>
              <a:buSzTx/>
              <a:buFontTx/>
              <a:buNone/>
              <a:tabLst/>
              <a:defRPr/>
            </a:pPr>
            <a:r>
              <a:rPr kumimoji="0" lang="de-DE" sz="1000" b="1" i="0" u="none" strike="noStrike" kern="1200" cap="none" spc="0" normalizeH="0" baseline="0" noProof="0" dirty="0" err="1">
                <a:ln>
                  <a:noFill/>
                </a:ln>
                <a:solidFill>
                  <a:srgbClr val="4D4D4D"/>
                </a:solidFill>
                <a:effectLst/>
                <a:uLnTx/>
                <a:uFillTx/>
                <a:latin typeface="Calibri"/>
                <a:ea typeface="+mn-ea"/>
                <a:cs typeface="+mn-cs"/>
              </a:rPr>
              <a:t>SlideX</a:t>
            </a:r>
            <a:r>
              <a:rPr kumimoji="0" lang="de-DE" sz="1000" b="1" i="0" u="none" strike="noStrike" kern="1200" cap="none" spc="0" normalizeH="0" baseline="0" noProof="0" dirty="0">
                <a:ln>
                  <a:noFill/>
                </a:ln>
                <a:solidFill>
                  <a:srgbClr val="4D4D4D"/>
                </a:solidFill>
                <a:effectLst/>
                <a:uLnTx/>
                <a:uFillTx/>
                <a:latin typeface="Calibri"/>
                <a:ea typeface="+mn-ea"/>
                <a:cs typeface="+mn-cs"/>
              </a:rPr>
              <a:t>® MT® </a:t>
            </a:r>
            <a:r>
              <a:rPr kumimoji="0" lang="de-DE" sz="1000" b="1" i="0" u="none" strike="noStrike" kern="1200" cap="none" spc="0" normalizeH="0" baseline="0" noProof="0" dirty="0" err="1">
                <a:ln>
                  <a:noFill/>
                </a:ln>
                <a:solidFill>
                  <a:srgbClr val="4D4D4D"/>
                </a:solidFill>
                <a:effectLst/>
                <a:uLnTx/>
                <a:uFillTx/>
                <a:latin typeface="Calibri"/>
                <a:ea typeface="+mn-ea"/>
                <a:cs typeface="+mn-cs"/>
              </a:rPr>
              <a:t>tribo</a:t>
            </a:r>
            <a:endParaRPr kumimoji="0" lang="de-DE" sz="1000" b="1" i="0" u="none" strike="noStrike" kern="1200" cap="none" spc="0" normalizeH="0" baseline="0" noProof="0" dirty="0">
              <a:ln>
                <a:noFill/>
              </a:ln>
              <a:solidFill>
                <a:srgbClr val="4D4D4D"/>
              </a:solidFill>
              <a:effectLst/>
              <a:uLnTx/>
              <a:uFillTx/>
              <a:latin typeface="Calibri"/>
              <a:ea typeface="+mn-ea"/>
              <a:cs typeface="+mn-cs"/>
            </a:endParaRPr>
          </a:p>
          <a:p>
            <a:pPr marL="0" marR="0" lvl="0" indent="0" algn="ctr" defTabSz="914400" rtl="0" eaLnBrk="1" fontAlgn="auto" latinLnBrk="0" hangingPunct="1">
              <a:lnSpc>
                <a:spcPct val="100000"/>
              </a:lnSpc>
              <a:buClrTx/>
              <a:buSzTx/>
              <a:buFontTx/>
              <a:buNone/>
              <a:tabLst/>
              <a:defRPr/>
            </a:pPr>
            <a:r>
              <a:rPr kumimoji="0" lang="de-DE" sz="1000" b="1" i="0" u="none" strike="noStrike" kern="1200" cap="none" spc="0" normalizeH="0" baseline="0" noProof="0" dirty="0">
                <a:ln>
                  <a:noFill/>
                </a:ln>
                <a:solidFill>
                  <a:srgbClr val="4D4D4D"/>
                </a:solidFill>
                <a:effectLst/>
                <a:uLnTx/>
                <a:uFillTx/>
                <a:latin typeface="Calibri"/>
                <a:ea typeface="+mn-ea"/>
                <a:cs typeface="+mn-cs"/>
              </a:rPr>
              <a:t>Medical grade </a:t>
            </a:r>
            <a:r>
              <a:rPr kumimoji="0" lang="de-DE" sz="1000" b="1" i="0" u="none" strike="noStrike" kern="1200" cap="none" spc="0" normalizeH="0" baseline="0" noProof="0" dirty="0" err="1">
                <a:ln>
                  <a:noFill/>
                </a:ln>
                <a:solidFill>
                  <a:srgbClr val="4D4D4D"/>
                </a:solidFill>
                <a:effectLst/>
                <a:uLnTx/>
                <a:uFillTx/>
                <a:latin typeface="Calibri"/>
                <a:ea typeface="+mn-ea"/>
                <a:cs typeface="+mn-cs"/>
              </a:rPr>
              <a:t>color</a:t>
            </a:r>
            <a:r>
              <a:rPr kumimoji="0" lang="de-DE" sz="1000" b="1" i="0" u="none" strike="noStrike" kern="1200" cap="none" spc="0" normalizeH="0" baseline="0" noProof="0" dirty="0">
                <a:ln>
                  <a:noFill/>
                </a:ln>
                <a:solidFill>
                  <a:srgbClr val="4D4D4D"/>
                </a:solidFill>
                <a:effectLst/>
                <a:uLnTx/>
                <a:uFillTx/>
                <a:latin typeface="Calibri"/>
                <a:ea typeface="+mn-ea"/>
                <a:cs typeface="+mn-cs"/>
              </a:rPr>
              <a:t> </a:t>
            </a:r>
            <a:r>
              <a:rPr kumimoji="0" lang="de-DE" sz="1000" b="1" i="0" u="none" strike="noStrike" kern="1200" cap="none" spc="0" normalizeH="0" baseline="0" noProof="0" dirty="0" err="1">
                <a:ln>
                  <a:noFill/>
                </a:ln>
                <a:solidFill>
                  <a:srgbClr val="4D4D4D"/>
                </a:solidFill>
                <a:effectLst/>
                <a:uLnTx/>
                <a:uFillTx/>
                <a:latin typeface="Calibri"/>
                <a:ea typeface="+mn-ea"/>
                <a:cs typeface="+mn-cs"/>
              </a:rPr>
              <a:t>service</a:t>
            </a:r>
            <a:endParaRPr kumimoji="0" lang="de-DE" sz="1000" b="1" i="0" u="none" strike="noStrike" kern="1200" cap="none" spc="0" normalizeH="0" baseline="0" noProof="0" dirty="0">
              <a:ln>
                <a:noFill/>
              </a:ln>
              <a:solidFill>
                <a:srgbClr val="4D4D4D"/>
              </a:solidFill>
              <a:effectLst/>
              <a:uLnTx/>
              <a:uFillTx/>
              <a:latin typeface="Calibri"/>
              <a:ea typeface="+mn-ea"/>
              <a:cs typeface="+mn-cs"/>
            </a:endParaRPr>
          </a:p>
          <a:p>
            <a:pPr algn="ctr">
              <a:defRPr/>
            </a:pPr>
            <a:r>
              <a:rPr lang="de-DE" sz="1000" b="1" dirty="0" err="1">
                <a:solidFill>
                  <a:srgbClr val="4D4D4D"/>
                </a:solidFill>
                <a:latin typeface="Calibri"/>
              </a:rPr>
              <a:t>CoolPoly</a:t>
            </a:r>
            <a:r>
              <a:rPr lang="de-DE" sz="1000" b="1" dirty="0">
                <a:solidFill>
                  <a:srgbClr val="4D4D4D"/>
                </a:solidFill>
                <a:latin typeface="Calibri"/>
              </a:rPr>
              <a:t>® </a:t>
            </a:r>
          </a:p>
          <a:p>
            <a:pPr marL="0" marR="0" lvl="0" indent="0" algn="ctr" defTabSz="914400" rtl="0" eaLnBrk="1" fontAlgn="auto" latinLnBrk="0" hangingPunct="1">
              <a:lnSpc>
                <a:spcPct val="100000"/>
              </a:lnSpc>
              <a:buClrTx/>
              <a:buSzTx/>
              <a:buFontTx/>
              <a:buNone/>
              <a:tabLst/>
              <a:defRPr/>
            </a:pPr>
            <a:r>
              <a:rPr kumimoji="0" lang="de-DE" sz="1000" b="1" i="0" u="none" strike="noStrike" kern="1200" cap="none" spc="0" normalizeH="0" baseline="0" noProof="0" dirty="0">
                <a:ln>
                  <a:noFill/>
                </a:ln>
                <a:solidFill>
                  <a:srgbClr val="4D4D4D"/>
                </a:solidFill>
                <a:effectLst/>
                <a:uLnTx/>
                <a:uFillTx/>
                <a:latin typeface="Calibri"/>
                <a:ea typeface="+mn-ea"/>
                <a:cs typeface="+mn-cs"/>
              </a:rPr>
              <a:t>Vectra® LCP-LDS</a:t>
            </a:r>
          </a:p>
        </p:txBody>
      </p:sp>
      <p:sp>
        <p:nvSpPr>
          <p:cNvPr id="74" name="Textplatzhalter 5">
            <a:extLst>
              <a:ext uri="{FF2B5EF4-FFF2-40B4-BE49-F238E27FC236}">
                <a16:creationId xmlns:a16="http://schemas.microsoft.com/office/drawing/2014/main" id="{8B5B5A4F-C8C0-46BB-8385-B108D61BCCB2}"/>
              </a:ext>
            </a:extLst>
          </p:cNvPr>
          <p:cNvSpPr txBox="1">
            <a:spLocks/>
          </p:cNvSpPr>
          <p:nvPr/>
        </p:nvSpPr>
        <p:spPr>
          <a:xfrm>
            <a:off x="390526" y="4431440"/>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vert="horz" wrap="square" lIns="81638" tIns="40819" rIns="81638" bIns="40819" rtlCol="0" anchor="b" anchorCtr="0">
            <a:spAutoFit/>
          </a:bodyPr>
          <a:lstStyle>
            <a:lvl1pPr indent="0" algn="ctr">
              <a:spcBef>
                <a:spcPts val="600"/>
              </a:spcBef>
              <a:buClr>
                <a:schemeClr val="tx2"/>
              </a:buClr>
              <a:buSzPct val="90000"/>
              <a:buFont typeface="Calibri" pitchFamily="34" charset="0"/>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vl2pPr marL="536575" indent="-268288">
              <a:spcBef>
                <a:spcPts val="600"/>
              </a:spcBef>
              <a:buClr>
                <a:schemeClr val="tx2"/>
              </a:buClr>
              <a:buFont typeface="Calibri" pitchFamily="34" charset="0"/>
              <a:buChar char="‒"/>
              <a:defRPr sz="1600">
                <a:solidFill>
                  <a:srgbClr val="4D4D4D"/>
                </a:solidFill>
              </a:defRPr>
            </a:lvl2pPr>
            <a:lvl3pPr marL="808038" indent="-228600">
              <a:spcBef>
                <a:spcPts val="600"/>
              </a:spcBef>
              <a:buClr>
                <a:schemeClr val="tx1"/>
              </a:buClr>
              <a:buSzPct val="100000"/>
              <a:buFont typeface="Calibri" pitchFamily="34" charset="0"/>
              <a:buChar char="‒"/>
              <a:defRPr sz="1400">
                <a:solidFill>
                  <a:srgbClr val="4D4D4D"/>
                </a:solidFill>
              </a:defRPr>
            </a:lvl3pPr>
            <a:lvl4pPr marL="1044575" indent="-238125">
              <a:spcBef>
                <a:spcPts val="600"/>
              </a:spcBef>
              <a:buFont typeface="Calibri" pitchFamily="34" charset="0"/>
              <a:buChar char="–"/>
              <a:tabLst/>
              <a:defRPr sz="1200">
                <a:solidFill>
                  <a:srgbClr val="4D4D4D"/>
                </a:solidFill>
              </a:defRPr>
            </a:lvl4pPr>
            <a:lvl5pPr marL="1309688" indent="-228600">
              <a:spcBef>
                <a:spcPts val="600"/>
              </a:spcBef>
              <a:buFont typeface="Calibri" pitchFamily="34" charset="0"/>
              <a:buChar char="‒"/>
              <a:defRPr sz="1200">
                <a:solidFill>
                  <a:srgbClr val="4D4D4D"/>
                </a:solidFill>
              </a:defRPr>
            </a:lvl5pPr>
            <a:lvl6pPr marL="2514600" indent="-228600">
              <a:spcBef>
                <a:spcPct val="20000"/>
              </a:spcBef>
              <a:buFont typeface="Calibri" pitchFamily="34" charset="0"/>
              <a:buChar char="•"/>
              <a:defRPr sz="2000"/>
            </a:lvl6pPr>
            <a:lvl7pPr marL="2971800" indent="-228600">
              <a:spcBef>
                <a:spcPct val="20000"/>
              </a:spcBef>
              <a:buFont typeface="Calibri" pitchFamily="34" charset="0"/>
              <a:buChar char="•"/>
              <a:defRPr sz="2000"/>
            </a:lvl7pPr>
            <a:lvl8pPr marL="3429000" indent="-228600">
              <a:spcBef>
                <a:spcPct val="20000"/>
              </a:spcBef>
              <a:buFont typeface="Calibri" pitchFamily="34" charset="0"/>
              <a:buChar char="•"/>
              <a:defRPr sz="2000"/>
            </a:lvl8pPr>
            <a:lvl9pPr marL="3886200" indent="-228600">
              <a:spcBef>
                <a:spcPct val="20000"/>
              </a:spcBef>
              <a:buFont typeface="Calibri" pitchFamily="34" charset="0"/>
              <a:buChar char="•"/>
              <a:defRPr sz="2000"/>
            </a:lvl9pPr>
          </a:lstStyle>
          <a:p>
            <a:r>
              <a:rPr lang="en-US"/>
              <a:t>Celanese materials support broadest range of biologics delivery solution</a:t>
            </a:r>
            <a:endParaRPr lang="en-US" dirty="0"/>
          </a:p>
        </p:txBody>
      </p:sp>
      <p:sp>
        <p:nvSpPr>
          <p:cNvPr id="73" name="Rechteck: abgerundete Ecken 72">
            <a:extLst>
              <a:ext uri="{FF2B5EF4-FFF2-40B4-BE49-F238E27FC236}">
                <a16:creationId xmlns:a16="http://schemas.microsoft.com/office/drawing/2014/main" id="{09FDF04C-7778-448E-9C78-406ED8CA039B}"/>
              </a:ext>
            </a:extLst>
          </p:cNvPr>
          <p:cNvSpPr/>
          <p:nvPr/>
        </p:nvSpPr>
        <p:spPr>
          <a:xfrm>
            <a:off x="2715347" y="1335697"/>
            <a:ext cx="1100811" cy="1766332"/>
          </a:xfrm>
          <a:prstGeom prst="roundRect">
            <a:avLst>
              <a:gd name="adj" fmla="val 6876"/>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hteck: abgerundete Ecken 74">
            <a:extLst>
              <a:ext uri="{FF2B5EF4-FFF2-40B4-BE49-F238E27FC236}">
                <a16:creationId xmlns:a16="http://schemas.microsoft.com/office/drawing/2014/main" id="{ACA51D60-38B4-4A98-8FC9-CFD90CD426AE}"/>
              </a:ext>
            </a:extLst>
          </p:cNvPr>
          <p:cNvSpPr/>
          <p:nvPr/>
        </p:nvSpPr>
        <p:spPr>
          <a:xfrm>
            <a:off x="5263363" y="1118650"/>
            <a:ext cx="1021307" cy="1373328"/>
          </a:xfrm>
          <a:prstGeom prst="roundRect">
            <a:avLst>
              <a:gd name="adj" fmla="val 6876"/>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1637600"/>
      </p:ext>
    </p:extLst>
  </p:cSld>
  <p:clrMapOvr>
    <a:masterClrMapping/>
  </p:clrMapOvr>
  <mc:AlternateContent xmlns:mc="http://schemas.openxmlformats.org/markup-compatibility/2006" xmlns:p14="http://schemas.microsoft.com/office/powerpoint/2010/main">
    <mc:Choice Requires="p14">
      <p:transition spd="slow" p14:dur="2000" advTm="56008"/>
    </mc:Choice>
    <mc:Fallback xmlns="">
      <p:transition spd="slow" advTm="56008"/>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98A4998F-5CE9-43BE-B7BF-92B21E8B98E8}"/>
              </a:ext>
            </a:extLst>
          </p:cNvPr>
          <p:cNvPicPr>
            <a:picLocks noChangeAspect="1"/>
          </p:cNvPicPr>
          <p:nvPr/>
        </p:nvPicPr>
        <p:blipFill>
          <a:blip r:embed="rId3"/>
          <a:stretch>
            <a:fillRect/>
          </a:stretch>
        </p:blipFill>
        <p:spPr>
          <a:xfrm>
            <a:off x="0" y="0"/>
            <a:ext cx="9142012" cy="5143500"/>
          </a:xfrm>
          <a:prstGeom prst="rect">
            <a:avLst/>
          </a:prstGeom>
        </p:spPr>
      </p:pic>
      <p:sp>
        <p:nvSpPr>
          <p:cNvPr id="2" name="Titel 1"/>
          <p:cNvSpPr>
            <a:spLocks noGrp="1"/>
          </p:cNvSpPr>
          <p:nvPr>
            <p:ph type="ctrTitle"/>
          </p:nvPr>
        </p:nvSpPr>
        <p:spPr>
          <a:xfrm>
            <a:off x="325487" y="-663561"/>
            <a:ext cx="6546268" cy="1354262"/>
          </a:xfrm>
        </p:spPr>
        <p:txBody>
          <a:bodyPr>
            <a:normAutofit/>
          </a:bodyPr>
          <a:lstStyle/>
          <a:p>
            <a:r>
              <a:rPr lang="en-US" dirty="0"/>
              <a:t>Autoinjector material selection</a:t>
            </a:r>
          </a:p>
        </p:txBody>
      </p:sp>
      <p:sp>
        <p:nvSpPr>
          <p:cNvPr id="3" name="Untertitel 2">
            <a:extLst>
              <a:ext uri="{FF2B5EF4-FFF2-40B4-BE49-F238E27FC236}">
                <a16:creationId xmlns:a16="http://schemas.microsoft.com/office/drawing/2014/main" id="{EC97C8B7-023E-4B09-A8B6-8E1171931F45}"/>
              </a:ext>
            </a:extLst>
          </p:cNvPr>
          <p:cNvSpPr>
            <a:spLocks noGrp="1"/>
          </p:cNvSpPr>
          <p:nvPr>
            <p:ph type="subTitle" idx="1"/>
          </p:nvPr>
        </p:nvSpPr>
        <p:spPr>
          <a:xfrm>
            <a:off x="325487" y="787502"/>
            <a:ext cx="3743593" cy="1162229"/>
          </a:xfrm>
        </p:spPr>
        <p:txBody>
          <a:bodyPr/>
          <a:lstStyle/>
          <a:p>
            <a:pPr>
              <a:lnSpc>
                <a:spcPct val="80000"/>
              </a:lnSpc>
            </a:pPr>
            <a:r>
              <a:rPr lang="de-DE" sz="2500" dirty="0" err="1"/>
              <a:t>Product</a:t>
            </a:r>
            <a:r>
              <a:rPr lang="de-DE" sz="2500" dirty="0"/>
              <a:t> </a:t>
            </a:r>
            <a:r>
              <a:rPr lang="de-DE" sz="2500" dirty="0" err="1"/>
              <a:t>requirements</a:t>
            </a:r>
            <a:r>
              <a:rPr lang="de-DE" sz="2500" dirty="0"/>
              <a:t> and material </a:t>
            </a:r>
            <a:r>
              <a:rPr lang="de-DE" sz="2500" dirty="0" err="1"/>
              <a:t>selection</a:t>
            </a:r>
            <a:endParaRPr lang="en-US" sz="2500" dirty="0"/>
          </a:p>
        </p:txBody>
      </p:sp>
      <p:cxnSp>
        <p:nvCxnSpPr>
          <p:cNvPr id="7" name="Connettore diritto 6">
            <a:extLst>
              <a:ext uri="{FF2B5EF4-FFF2-40B4-BE49-F238E27FC236}">
                <a16:creationId xmlns:a16="http://schemas.microsoft.com/office/drawing/2014/main" id="{356F6316-A403-448A-8C7E-4BE1BAFAE8A9}"/>
              </a:ext>
            </a:extLst>
          </p:cNvPr>
          <p:cNvCxnSpPr>
            <a:cxnSpLocks/>
          </p:cNvCxnSpPr>
          <p:nvPr/>
        </p:nvCxnSpPr>
        <p:spPr>
          <a:xfrm>
            <a:off x="325487" y="734792"/>
            <a:ext cx="3325582" cy="8163"/>
          </a:xfrm>
          <a:prstGeom prst="line">
            <a:avLst/>
          </a:prstGeom>
          <a:ln w="19050">
            <a:solidFill>
              <a:srgbClr val="F793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732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GB" dirty="0"/>
              <a:t>Concept of an Autoinjector</a:t>
            </a:r>
          </a:p>
        </p:txBody>
      </p:sp>
      <p:sp>
        <p:nvSpPr>
          <p:cNvPr id="5" name="Foliennummernplatzhalter 4"/>
          <p:cNvSpPr>
            <a:spLocks noGrp="1"/>
          </p:cNvSpPr>
          <p:nvPr>
            <p:ph type="sldNum" sz="quarter" idx="15"/>
          </p:nvPr>
        </p:nvSpPr>
        <p:spPr/>
        <p:txBody>
          <a:bodyPr vert="horz" lIns="0" tIns="0" rIns="0" bIns="0" rtlCol="0" anchor="ctr"/>
          <a:lstStyle/>
          <a:p>
            <a:pPr defTabSz="685800"/>
            <a:fld id="{CBC18623-D5EF-43D5-AE73-F0DD34C132F1}" type="slidenum">
              <a:rPr lang="de-DE" sz="750" smtClean="0">
                <a:latin typeface="Calibri"/>
              </a:rPr>
              <a:pPr defTabSz="685800"/>
              <a:t>6</a:t>
            </a:fld>
            <a:endParaRPr lang="de-DE" sz="750" dirty="0">
              <a:latin typeface="Calibri"/>
            </a:endParaRPr>
          </a:p>
        </p:txBody>
      </p:sp>
      <p:grpSp>
        <p:nvGrpSpPr>
          <p:cNvPr id="25" name="Gruppieren 24"/>
          <p:cNvGrpSpPr/>
          <p:nvPr/>
        </p:nvGrpSpPr>
        <p:grpSpPr>
          <a:xfrm>
            <a:off x="241617" y="844950"/>
            <a:ext cx="2501018" cy="3825338"/>
            <a:chOff x="241617" y="844950"/>
            <a:chExt cx="2501018" cy="3825338"/>
          </a:xfrm>
        </p:grpSpPr>
        <p:grpSp>
          <p:nvGrpSpPr>
            <p:cNvPr id="24" name="Gruppieren 23"/>
            <p:cNvGrpSpPr/>
            <p:nvPr/>
          </p:nvGrpSpPr>
          <p:grpSpPr>
            <a:xfrm>
              <a:off x="241617" y="844950"/>
              <a:ext cx="2501018" cy="3825338"/>
              <a:chOff x="36544" y="868445"/>
              <a:chExt cx="2501018" cy="3825338"/>
            </a:xfrm>
          </p:grpSpPr>
          <p:pic>
            <p:nvPicPr>
              <p:cNvPr id="24578"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rot="5400000">
                <a:off x="-666144" y="2538589"/>
                <a:ext cx="3825338" cy="48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Line Callout 2 3"/>
              <p:cNvSpPr/>
              <p:nvPr/>
            </p:nvSpPr>
            <p:spPr>
              <a:xfrm>
                <a:off x="1743953" y="937893"/>
                <a:ext cx="585052" cy="153554"/>
              </a:xfrm>
              <a:prstGeom prst="borderCallout2">
                <a:avLst>
                  <a:gd name="adj1" fmla="val 18750"/>
                  <a:gd name="adj2" fmla="val -8333"/>
                  <a:gd name="adj3" fmla="val 18750"/>
                  <a:gd name="adj4" fmla="val -16667"/>
                  <a:gd name="adj5" fmla="val 183845"/>
                  <a:gd name="adj6" fmla="val -52273"/>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Shroud</a:t>
                </a:r>
              </a:p>
            </p:txBody>
          </p:sp>
          <p:sp>
            <p:nvSpPr>
              <p:cNvPr id="8" name="Line Callout 2 7"/>
              <p:cNvSpPr/>
              <p:nvPr/>
            </p:nvSpPr>
            <p:spPr>
              <a:xfrm>
                <a:off x="1762675" y="1274927"/>
                <a:ext cx="585052" cy="153554"/>
              </a:xfrm>
              <a:prstGeom prst="borderCallout2">
                <a:avLst>
                  <a:gd name="adj1" fmla="val 18750"/>
                  <a:gd name="adj2" fmla="val -8333"/>
                  <a:gd name="adj3" fmla="val 18750"/>
                  <a:gd name="adj4" fmla="val -16667"/>
                  <a:gd name="adj5" fmla="val 273746"/>
                  <a:gd name="adj6" fmla="val -53057"/>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Case</a:t>
                </a:r>
              </a:p>
            </p:txBody>
          </p:sp>
          <p:sp>
            <p:nvSpPr>
              <p:cNvPr id="12" name="Line Callout 2 11"/>
              <p:cNvSpPr/>
              <p:nvPr/>
            </p:nvSpPr>
            <p:spPr>
              <a:xfrm>
                <a:off x="77533" y="3086144"/>
                <a:ext cx="810071" cy="153554"/>
              </a:xfrm>
              <a:prstGeom prst="borderCallout2">
                <a:avLst>
                  <a:gd name="adj1" fmla="val 38599"/>
                  <a:gd name="adj2" fmla="val 100783"/>
                  <a:gd name="adj3" fmla="val 43561"/>
                  <a:gd name="adj4" fmla="val 110321"/>
                  <a:gd name="adj5" fmla="val 272579"/>
                  <a:gd name="adj6" fmla="val 125214"/>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Main Spring</a:t>
                </a:r>
              </a:p>
            </p:txBody>
          </p:sp>
          <p:sp>
            <p:nvSpPr>
              <p:cNvPr id="13" name="Line Callout 2 12"/>
              <p:cNvSpPr/>
              <p:nvPr/>
            </p:nvSpPr>
            <p:spPr>
              <a:xfrm>
                <a:off x="36544" y="2429975"/>
                <a:ext cx="727782" cy="153554"/>
              </a:xfrm>
              <a:prstGeom prst="borderCallout2">
                <a:avLst>
                  <a:gd name="adj1" fmla="val 18750"/>
                  <a:gd name="adj2" fmla="val 107886"/>
                  <a:gd name="adj3" fmla="val 18750"/>
                  <a:gd name="adj4" fmla="val 118398"/>
                  <a:gd name="adj5" fmla="val -142879"/>
                  <a:gd name="adj6" fmla="val 167864"/>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000" dirty="0"/>
                  <a:t>Return Sleeve</a:t>
                </a:r>
              </a:p>
            </p:txBody>
          </p:sp>
          <p:sp>
            <p:nvSpPr>
              <p:cNvPr id="14" name="Line Callout 2 13"/>
              <p:cNvSpPr/>
              <p:nvPr/>
            </p:nvSpPr>
            <p:spPr>
              <a:xfrm>
                <a:off x="244507" y="1452045"/>
                <a:ext cx="635297" cy="204464"/>
              </a:xfrm>
              <a:prstGeom prst="borderCallout2">
                <a:avLst>
                  <a:gd name="adj1" fmla="val 15441"/>
                  <a:gd name="adj2" fmla="val 102665"/>
                  <a:gd name="adj3" fmla="val 15441"/>
                  <a:gd name="adj4" fmla="val 109381"/>
                  <a:gd name="adj5" fmla="val 127942"/>
                  <a:gd name="adj6" fmla="val 157952"/>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Syringe</a:t>
                </a:r>
              </a:p>
            </p:txBody>
          </p:sp>
          <p:sp>
            <p:nvSpPr>
              <p:cNvPr id="15" name="Line Callout 2 14"/>
              <p:cNvSpPr/>
              <p:nvPr/>
            </p:nvSpPr>
            <p:spPr>
              <a:xfrm>
                <a:off x="1809780" y="3620151"/>
                <a:ext cx="727782" cy="153554"/>
              </a:xfrm>
              <a:prstGeom prst="borderCallout2">
                <a:avLst>
                  <a:gd name="adj1" fmla="val 18750"/>
                  <a:gd name="adj2" fmla="val -8333"/>
                  <a:gd name="adj3" fmla="val 18750"/>
                  <a:gd name="adj4" fmla="val -16667"/>
                  <a:gd name="adj5" fmla="val 207024"/>
                  <a:gd name="adj6" fmla="val -61130"/>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000" dirty="0"/>
                  <a:t>Button Spring</a:t>
                </a:r>
              </a:p>
            </p:txBody>
          </p:sp>
          <p:sp>
            <p:nvSpPr>
              <p:cNvPr id="16" name="Line Callout 2 15"/>
              <p:cNvSpPr/>
              <p:nvPr/>
            </p:nvSpPr>
            <p:spPr>
              <a:xfrm>
                <a:off x="1672588" y="3022124"/>
                <a:ext cx="571632" cy="153554"/>
              </a:xfrm>
              <a:prstGeom prst="borderCallout2">
                <a:avLst>
                  <a:gd name="adj1" fmla="val 18750"/>
                  <a:gd name="adj2" fmla="val -8333"/>
                  <a:gd name="adj3" fmla="val 18750"/>
                  <a:gd name="adj4" fmla="val -16667"/>
                  <a:gd name="adj5" fmla="val 318627"/>
                  <a:gd name="adj6" fmla="val -58389"/>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Driver</a:t>
                </a:r>
              </a:p>
            </p:txBody>
          </p:sp>
          <p:sp>
            <p:nvSpPr>
              <p:cNvPr id="17" name="Line Callout 2 16"/>
              <p:cNvSpPr/>
              <p:nvPr/>
            </p:nvSpPr>
            <p:spPr>
              <a:xfrm>
                <a:off x="244507" y="4173464"/>
                <a:ext cx="631585" cy="169658"/>
              </a:xfrm>
              <a:prstGeom prst="borderCallout2">
                <a:avLst>
                  <a:gd name="adj1" fmla="val 16269"/>
                  <a:gd name="adj2" fmla="val 103652"/>
                  <a:gd name="adj3" fmla="val 13788"/>
                  <a:gd name="adj4" fmla="val 112706"/>
                  <a:gd name="adj5" fmla="val -187541"/>
                  <a:gd name="adj6" fmla="val 144480"/>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Release</a:t>
                </a:r>
              </a:p>
            </p:txBody>
          </p:sp>
          <p:sp>
            <p:nvSpPr>
              <p:cNvPr id="18" name="Line Callout 2 17"/>
              <p:cNvSpPr/>
              <p:nvPr/>
            </p:nvSpPr>
            <p:spPr>
              <a:xfrm>
                <a:off x="1869616" y="4343123"/>
                <a:ext cx="547766" cy="153554"/>
              </a:xfrm>
              <a:prstGeom prst="borderCallout2">
                <a:avLst>
                  <a:gd name="adj1" fmla="val 18750"/>
                  <a:gd name="adj2" fmla="val -8333"/>
                  <a:gd name="adj3" fmla="val 18750"/>
                  <a:gd name="adj4" fmla="val -16667"/>
                  <a:gd name="adj5" fmla="val 179678"/>
                  <a:gd name="adj6" fmla="val -86443"/>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Button</a:t>
                </a:r>
              </a:p>
            </p:txBody>
          </p:sp>
        </p:grpSp>
        <p:sp>
          <p:nvSpPr>
            <p:cNvPr id="27" name="Line Callout 2 10"/>
            <p:cNvSpPr/>
            <p:nvPr/>
          </p:nvSpPr>
          <p:spPr>
            <a:xfrm>
              <a:off x="1954787" y="1890200"/>
              <a:ext cx="727782" cy="168407"/>
            </a:xfrm>
            <a:prstGeom prst="borderCallout2">
              <a:avLst>
                <a:gd name="adj1" fmla="val 18750"/>
                <a:gd name="adj2" fmla="val -8333"/>
                <a:gd name="adj3" fmla="val 18750"/>
                <a:gd name="adj4" fmla="val -16667"/>
                <a:gd name="adj5" fmla="val 137043"/>
                <a:gd name="adj6" fmla="val -46875"/>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000" dirty="0"/>
                <a:t>Return Spring</a:t>
              </a:r>
            </a:p>
          </p:txBody>
        </p:sp>
      </p:grpSp>
      <p:sp>
        <p:nvSpPr>
          <p:cNvPr id="20" name="Content Placeholder 9"/>
          <p:cNvSpPr>
            <a:spLocks noGrp="1"/>
          </p:cNvSpPr>
          <p:nvPr>
            <p:ph sz="quarter" idx="13"/>
          </p:nvPr>
        </p:nvSpPr>
        <p:spPr>
          <a:xfrm>
            <a:off x="3262239" y="908776"/>
            <a:ext cx="4959988" cy="3032603"/>
          </a:xfrm>
        </p:spPr>
        <p:txBody>
          <a:bodyPr vert="horz" lIns="0" tIns="0" rIns="0" bIns="0" rtlCol="0">
            <a:normAutofit/>
          </a:bodyPr>
          <a:lstStyle/>
          <a:p>
            <a:pPr marL="0" indent="0">
              <a:lnSpc>
                <a:spcPct val="120000"/>
              </a:lnSpc>
              <a:buNone/>
            </a:pPr>
            <a:r>
              <a:rPr lang="en-GB" sz="2000" b="1" dirty="0"/>
              <a:t>Procedure</a:t>
            </a:r>
            <a:r>
              <a:rPr lang="en-GB" sz="2000" dirty="0"/>
              <a:t> </a:t>
            </a:r>
          </a:p>
          <a:p>
            <a:pPr marL="342900" indent="-342900">
              <a:lnSpc>
                <a:spcPct val="120000"/>
              </a:lnSpc>
              <a:buFont typeface="+mj-lt"/>
              <a:buAutoNum type="arabicPeriod"/>
            </a:pPr>
            <a:r>
              <a:rPr lang="en-GB" dirty="0"/>
              <a:t>Define the specifications</a:t>
            </a:r>
          </a:p>
          <a:p>
            <a:pPr marL="342900" indent="-342900">
              <a:lnSpc>
                <a:spcPct val="120000"/>
              </a:lnSpc>
              <a:buFont typeface="+mj-lt"/>
              <a:buAutoNum type="arabicPeriod"/>
            </a:pPr>
            <a:r>
              <a:rPr lang="en-GB" dirty="0"/>
              <a:t>Define the operating conditions </a:t>
            </a:r>
          </a:p>
          <a:p>
            <a:pPr marL="342900" indent="-342900">
              <a:lnSpc>
                <a:spcPct val="120000"/>
              </a:lnSpc>
              <a:buFont typeface="+mj-lt"/>
              <a:buAutoNum type="arabicPeriod"/>
            </a:pPr>
            <a:r>
              <a:rPr lang="en-GB" dirty="0"/>
              <a:t>Define pre-existing material requirements </a:t>
            </a:r>
          </a:p>
          <a:p>
            <a:pPr marL="342900" indent="-342900">
              <a:lnSpc>
                <a:spcPct val="120000"/>
              </a:lnSpc>
              <a:buFont typeface="+mj-lt"/>
              <a:buAutoNum type="arabicPeriod"/>
            </a:pPr>
            <a:r>
              <a:rPr lang="en-GB" dirty="0"/>
              <a:t>Build an interaction matrix for the concept</a:t>
            </a:r>
          </a:p>
          <a:p>
            <a:pPr marL="342900" indent="-342900">
              <a:lnSpc>
                <a:spcPct val="120000"/>
              </a:lnSpc>
              <a:buFont typeface="+mj-lt"/>
              <a:buAutoNum type="arabicPeriod"/>
            </a:pPr>
            <a:r>
              <a:rPr lang="en-GB" dirty="0"/>
              <a:t>Determine best material interactions </a:t>
            </a:r>
          </a:p>
          <a:p>
            <a:pPr marL="342900" indent="-342900">
              <a:lnSpc>
                <a:spcPct val="120000"/>
              </a:lnSpc>
              <a:buFont typeface="+mj-lt"/>
              <a:buAutoNum type="arabicPeriod"/>
            </a:pPr>
            <a:r>
              <a:rPr lang="en-GB" dirty="0"/>
              <a:t>Chose material based on product performance</a:t>
            </a:r>
          </a:p>
        </p:txBody>
      </p:sp>
      <p:sp>
        <p:nvSpPr>
          <p:cNvPr id="19" name="Footer Placeholder 103"/>
          <p:cNvSpPr>
            <a:spLocks noGrp="1"/>
          </p:cNvSpPr>
          <p:nvPr>
            <p:ph type="ftr" sz="quarter" idx="14"/>
          </p:nvPr>
        </p:nvSpPr>
        <p:spPr>
          <a:xfrm>
            <a:off x="390528" y="4767265"/>
            <a:ext cx="553370" cy="273844"/>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4D4D4D"/>
                </a:solidFill>
                <a:effectLst/>
                <a:uLnTx/>
                <a:uFillTx/>
                <a:latin typeface="Calibri"/>
                <a:ea typeface="+mn-ea"/>
                <a:cs typeface="+mn-cs"/>
              </a:rPr>
              <a:t>External</a:t>
            </a:r>
          </a:p>
        </p:txBody>
      </p:sp>
    </p:spTree>
    <p:extLst>
      <p:ext uri="{BB962C8B-B14F-4D97-AF65-F5344CB8AC3E}">
        <p14:creationId xmlns:p14="http://schemas.microsoft.com/office/powerpoint/2010/main" val="1061859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normAutofit/>
          </a:bodyPr>
          <a:lstStyle/>
          <a:p>
            <a:r>
              <a:rPr lang="en-GB" dirty="0"/>
              <a:t>Concept of an Autoinjector</a:t>
            </a:r>
            <a:br>
              <a:rPr lang="en-GB" dirty="0"/>
            </a:br>
            <a:r>
              <a:rPr lang="en-GB" sz="1800" dirty="0"/>
              <a:t>Product requirements</a:t>
            </a:r>
          </a:p>
        </p:txBody>
      </p:sp>
      <p:sp>
        <p:nvSpPr>
          <p:cNvPr id="2" name="Inhaltsplatzhalter 1"/>
          <p:cNvSpPr>
            <a:spLocks noGrp="1"/>
          </p:cNvSpPr>
          <p:nvPr>
            <p:ph sz="quarter" idx="13"/>
          </p:nvPr>
        </p:nvSpPr>
        <p:spPr>
          <a:xfrm>
            <a:off x="751391" y="895350"/>
            <a:ext cx="5336894" cy="3810000"/>
          </a:xfrm>
        </p:spPr>
        <p:txBody>
          <a:bodyPr vert="horz" lIns="0" tIns="0" rIns="0" bIns="0" rtlCol="0">
            <a:normAutofit/>
          </a:bodyPr>
          <a:lstStyle/>
          <a:p>
            <a:r>
              <a:rPr lang="en-US" dirty="0"/>
              <a:t>Polymer with internal or external lubricant </a:t>
            </a:r>
          </a:p>
          <a:p>
            <a:r>
              <a:rPr lang="en-US" dirty="0"/>
              <a:t>Friction Performance </a:t>
            </a:r>
          </a:p>
          <a:p>
            <a:r>
              <a:rPr lang="en-US" dirty="0"/>
              <a:t>Noise Generation</a:t>
            </a:r>
          </a:p>
          <a:p>
            <a:r>
              <a:rPr lang="en-US" dirty="0"/>
              <a:t>Good sliding performance vs. sliding partner(s)</a:t>
            </a:r>
          </a:p>
          <a:p>
            <a:r>
              <a:rPr lang="en-US" dirty="0"/>
              <a:t>Disposable or re-usable</a:t>
            </a:r>
          </a:p>
          <a:p>
            <a:endParaRPr lang="en-US" dirty="0"/>
          </a:p>
          <a:p>
            <a:r>
              <a:rPr lang="en-US" dirty="0"/>
              <a:t>Laser marking (Sharp, crisp indelible images on low </a:t>
            </a:r>
            <a:br>
              <a:rPr lang="en-US" dirty="0"/>
            </a:br>
            <a:r>
              <a:rPr lang="en-US" dirty="0"/>
              <a:t>gloss or high gloss surfaces)</a:t>
            </a:r>
          </a:p>
          <a:p>
            <a:r>
              <a:rPr lang="en-US" dirty="0"/>
              <a:t>Colors</a:t>
            </a:r>
          </a:p>
          <a:p>
            <a:r>
              <a:rPr lang="en-US" dirty="0"/>
              <a:t>Precision (e.g. dosing accuracy)</a:t>
            </a:r>
          </a:p>
          <a:p>
            <a:r>
              <a:rPr lang="en-US" dirty="0"/>
              <a:t>Sterilization</a:t>
            </a:r>
          </a:p>
        </p:txBody>
      </p:sp>
      <p:sp>
        <p:nvSpPr>
          <p:cNvPr id="5" name="Foliennummernplatzhalter 4"/>
          <p:cNvSpPr>
            <a:spLocks noGrp="1"/>
          </p:cNvSpPr>
          <p:nvPr>
            <p:ph type="sldNum" sz="quarter" idx="15"/>
          </p:nvPr>
        </p:nvSpPr>
        <p:spPr/>
        <p:txBody>
          <a:bodyPr vert="horz" lIns="0" tIns="0" rIns="0" bIns="0" rtlCol="0" anchor="ctr"/>
          <a:lstStyle/>
          <a:p>
            <a:pPr defTabSz="685800"/>
            <a:fld id="{CBC18623-D5EF-43D5-AE73-F0DD34C132F1}" type="slidenum">
              <a:rPr lang="de-DE" sz="750" smtClean="0">
                <a:latin typeface="Calibri"/>
              </a:rPr>
              <a:pPr defTabSz="685800"/>
              <a:t>7</a:t>
            </a:fld>
            <a:endParaRPr lang="de-DE" sz="750" dirty="0">
              <a:latin typeface="Calibri"/>
            </a:endParaRPr>
          </a:p>
        </p:txBody>
      </p:sp>
      <p:pic>
        <p:nvPicPr>
          <p:cNvPr id="20"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rot="16200000">
            <a:off x="6305148" y="2627529"/>
            <a:ext cx="1909637" cy="21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2"/>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6179963" y="837476"/>
            <a:ext cx="2160000" cy="1833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hteck 2"/>
          <p:cNvSpPr/>
          <p:nvPr/>
        </p:nvSpPr>
        <p:spPr>
          <a:xfrm>
            <a:off x="359386" y="2624904"/>
            <a:ext cx="1244251" cy="397032"/>
          </a:xfrm>
          <a:prstGeom prst="rect">
            <a:avLst/>
          </a:prstGeom>
        </p:spPr>
        <p:txBody>
          <a:bodyPr wrap="none">
            <a:spAutoFit/>
          </a:bodyPr>
          <a:lstStyle/>
          <a:p>
            <a:pPr>
              <a:lnSpc>
                <a:spcPct val="110000"/>
              </a:lnSpc>
              <a:spcBef>
                <a:spcPts val="450"/>
              </a:spcBef>
              <a:buSzPct val="90000"/>
            </a:pPr>
            <a:r>
              <a:rPr lang="de-DE" dirty="0">
                <a:solidFill>
                  <a:srgbClr val="4D4D4D"/>
                </a:solidFill>
              </a:rPr>
              <a:t>additional..</a:t>
            </a:r>
          </a:p>
        </p:txBody>
      </p:sp>
      <p:sp>
        <p:nvSpPr>
          <p:cNvPr id="4" name="Textfeld 3">
            <a:extLst>
              <a:ext uri="{FF2B5EF4-FFF2-40B4-BE49-F238E27FC236}">
                <a16:creationId xmlns:a16="http://schemas.microsoft.com/office/drawing/2014/main" id="{753F2946-1CD0-4934-AF07-E33E91DBEE90}"/>
              </a:ext>
            </a:extLst>
          </p:cNvPr>
          <p:cNvSpPr txBox="1"/>
          <p:nvPr/>
        </p:nvSpPr>
        <p:spPr>
          <a:xfrm>
            <a:off x="6350796" y="916781"/>
            <a:ext cx="404811" cy="76944"/>
          </a:xfrm>
          <a:prstGeom prst="rect">
            <a:avLst/>
          </a:prstGeom>
          <a:solidFill>
            <a:srgbClr val="191919"/>
          </a:solidFill>
        </p:spPr>
        <p:txBody>
          <a:bodyPr wrap="square" lIns="36000" tIns="0" rIns="36000" bIns="0" rtlCol="0">
            <a:spAutoFit/>
          </a:bodyPr>
          <a:lstStyle/>
          <a:p>
            <a:pPr algn="ctr"/>
            <a:r>
              <a:rPr lang="de-DE" sz="500" dirty="0">
                <a:solidFill>
                  <a:schemeClr val="bg1">
                    <a:lumMod val="85000"/>
                  </a:schemeClr>
                </a:solidFill>
                <a:latin typeface="Franklin Gothic Book" panose="020B0503020102020204" pitchFamily="34" charset="0"/>
              </a:rPr>
              <a:t>Celanese</a:t>
            </a:r>
          </a:p>
        </p:txBody>
      </p:sp>
      <p:sp>
        <p:nvSpPr>
          <p:cNvPr id="10" name="Textfeld 9">
            <a:extLst>
              <a:ext uri="{FF2B5EF4-FFF2-40B4-BE49-F238E27FC236}">
                <a16:creationId xmlns:a16="http://schemas.microsoft.com/office/drawing/2014/main" id="{4731EBA9-1DF3-4099-9629-AC86710D55DB}"/>
              </a:ext>
            </a:extLst>
          </p:cNvPr>
          <p:cNvSpPr txBox="1"/>
          <p:nvPr/>
        </p:nvSpPr>
        <p:spPr>
          <a:xfrm>
            <a:off x="6350795" y="1793868"/>
            <a:ext cx="404811" cy="76944"/>
          </a:xfrm>
          <a:prstGeom prst="rect">
            <a:avLst/>
          </a:prstGeom>
          <a:solidFill>
            <a:schemeClr val="bg1">
              <a:lumMod val="85000"/>
            </a:schemeClr>
          </a:solidFill>
        </p:spPr>
        <p:txBody>
          <a:bodyPr wrap="square" lIns="36000" tIns="0" rIns="36000" bIns="0" rtlCol="0">
            <a:spAutoFit/>
          </a:bodyPr>
          <a:lstStyle/>
          <a:p>
            <a:pPr algn="ctr"/>
            <a:r>
              <a:rPr lang="de-DE" sz="500" dirty="0">
                <a:solidFill>
                  <a:schemeClr val="bg1">
                    <a:lumMod val="50000"/>
                  </a:schemeClr>
                </a:solidFill>
                <a:latin typeface="Franklin Gothic Book" panose="020B0503020102020204" pitchFamily="34" charset="0"/>
              </a:rPr>
              <a:t>Celanese</a:t>
            </a:r>
          </a:p>
        </p:txBody>
      </p:sp>
      <p:sp>
        <p:nvSpPr>
          <p:cNvPr id="11" name="Footer Placeholder 103"/>
          <p:cNvSpPr>
            <a:spLocks noGrp="1"/>
          </p:cNvSpPr>
          <p:nvPr>
            <p:ph type="ftr" sz="quarter" idx="14"/>
          </p:nvPr>
        </p:nvSpPr>
        <p:spPr>
          <a:xfrm>
            <a:off x="390528" y="4767265"/>
            <a:ext cx="553370" cy="273844"/>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4D4D4D"/>
                </a:solidFill>
                <a:effectLst/>
                <a:uLnTx/>
                <a:uFillTx/>
                <a:latin typeface="Calibri"/>
                <a:ea typeface="+mn-ea"/>
                <a:cs typeface="+mn-cs"/>
              </a:rPr>
              <a:t>External</a:t>
            </a:r>
          </a:p>
        </p:txBody>
      </p:sp>
    </p:spTree>
    <p:extLst>
      <p:ext uri="{BB962C8B-B14F-4D97-AF65-F5344CB8AC3E}">
        <p14:creationId xmlns:p14="http://schemas.microsoft.com/office/powerpoint/2010/main" val="4099122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GB" dirty="0"/>
              <a:t>The Importance of Tribology</a:t>
            </a:r>
            <a:br>
              <a:rPr lang="en-GB" dirty="0"/>
            </a:br>
            <a:r>
              <a:rPr lang="en-GB" sz="1800" dirty="0"/>
              <a:t>Concept of an Autoinjector</a:t>
            </a:r>
            <a:endParaRPr lang="en-GB" dirty="0"/>
          </a:p>
        </p:txBody>
      </p:sp>
      <p:sp>
        <p:nvSpPr>
          <p:cNvPr id="5" name="Foliennummernplatzhalter 4"/>
          <p:cNvSpPr>
            <a:spLocks noGrp="1"/>
          </p:cNvSpPr>
          <p:nvPr>
            <p:ph type="sldNum" sz="quarter" idx="15"/>
          </p:nvPr>
        </p:nvSpPr>
        <p:spPr/>
        <p:txBody>
          <a:bodyPr vert="horz" lIns="0" tIns="0" rIns="0" bIns="0" rtlCol="0" anchor="ctr"/>
          <a:lstStyle/>
          <a:p>
            <a:pPr defTabSz="685800"/>
            <a:fld id="{CBC18623-D5EF-43D5-AE73-F0DD34C132F1}" type="slidenum">
              <a:rPr lang="de-DE" sz="750" smtClean="0">
                <a:latin typeface="Calibri"/>
              </a:rPr>
              <a:pPr defTabSz="685800"/>
              <a:t>8</a:t>
            </a:fld>
            <a:endParaRPr lang="de-DE" sz="750" dirty="0">
              <a:latin typeface="Calibri"/>
            </a:endParaRPr>
          </a:p>
        </p:txBody>
      </p:sp>
      <p:graphicFrame>
        <p:nvGraphicFramePr>
          <p:cNvPr id="19" name="Table 25"/>
          <p:cNvGraphicFramePr>
            <a:graphicFrameLocks noGrp="1"/>
          </p:cNvGraphicFramePr>
          <p:nvPr/>
        </p:nvGraphicFramePr>
        <p:xfrm>
          <a:off x="2890542" y="844950"/>
          <a:ext cx="5871669" cy="3844299"/>
        </p:xfrm>
        <a:graphic>
          <a:graphicData uri="http://schemas.openxmlformats.org/drawingml/2006/table">
            <a:tbl>
              <a:tblPr firstRow="1" firstCol="1">
                <a:tableStyleId>{6E25E649-3F16-4E02-A733-19D2CDBF48F0}</a:tableStyleId>
              </a:tblPr>
              <a:tblGrid>
                <a:gridCol w="839488">
                  <a:extLst>
                    <a:ext uri="{9D8B030D-6E8A-4147-A177-3AD203B41FA5}">
                      <a16:colId xmlns:a16="http://schemas.microsoft.com/office/drawing/2014/main" val="20000"/>
                    </a:ext>
                  </a:extLst>
                </a:gridCol>
                <a:gridCol w="414323">
                  <a:extLst>
                    <a:ext uri="{9D8B030D-6E8A-4147-A177-3AD203B41FA5}">
                      <a16:colId xmlns:a16="http://schemas.microsoft.com/office/drawing/2014/main" val="20001"/>
                    </a:ext>
                  </a:extLst>
                </a:gridCol>
                <a:gridCol w="455312">
                  <a:extLst>
                    <a:ext uri="{9D8B030D-6E8A-4147-A177-3AD203B41FA5}">
                      <a16:colId xmlns:a16="http://schemas.microsoft.com/office/drawing/2014/main" val="20002"/>
                    </a:ext>
                  </a:extLst>
                </a:gridCol>
                <a:gridCol w="414323">
                  <a:extLst>
                    <a:ext uri="{9D8B030D-6E8A-4147-A177-3AD203B41FA5}">
                      <a16:colId xmlns:a16="http://schemas.microsoft.com/office/drawing/2014/main" val="20003"/>
                    </a:ext>
                  </a:extLst>
                </a:gridCol>
                <a:gridCol w="414323">
                  <a:extLst>
                    <a:ext uri="{9D8B030D-6E8A-4147-A177-3AD203B41FA5}">
                      <a16:colId xmlns:a16="http://schemas.microsoft.com/office/drawing/2014/main" val="20004"/>
                    </a:ext>
                  </a:extLst>
                </a:gridCol>
                <a:gridCol w="466425">
                  <a:extLst>
                    <a:ext uri="{9D8B030D-6E8A-4147-A177-3AD203B41FA5}">
                      <a16:colId xmlns:a16="http://schemas.microsoft.com/office/drawing/2014/main" val="20005"/>
                    </a:ext>
                  </a:extLst>
                </a:gridCol>
                <a:gridCol w="448962">
                  <a:extLst>
                    <a:ext uri="{9D8B030D-6E8A-4147-A177-3AD203B41FA5}">
                      <a16:colId xmlns:a16="http://schemas.microsoft.com/office/drawing/2014/main" val="20006"/>
                    </a:ext>
                  </a:extLst>
                </a:gridCol>
                <a:gridCol w="414323">
                  <a:extLst>
                    <a:ext uri="{9D8B030D-6E8A-4147-A177-3AD203B41FA5}">
                      <a16:colId xmlns:a16="http://schemas.microsoft.com/office/drawing/2014/main" val="20007"/>
                    </a:ext>
                  </a:extLst>
                </a:gridCol>
                <a:gridCol w="483888">
                  <a:extLst>
                    <a:ext uri="{9D8B030D-6E8A-4147-A177-3AD203B41FA5}">
                      <a16:colId xmlns:a16="http://schemas.microsoft.com/office/drawing/2014/main" val="20008"/>
                    </a:ext>
                  </a:extLst>
                </a:gridCol>
                <a:gridCol w="416619">
                  <a:extLst>
                    <a:ext uri="{9D8B030D-6E8A-4147-A177-3AD203B41FA5}">
                      <a16:colId xmlns:a16="http://schemas.microsoft.com/office/drawing/2014/main" val="20009"/>
                    </a:ext>
                  </a:extLst>
                </a:gridCol>
                <a:gridCol w="444394">
                  <a:extLst>
                    <a:ext uri="{9D8B030D-6E8A-4147-A177-3AD203B41FA5}">
                      <a16:colId xmlns:a16="http://schemas.microsoft.com/office/drawing/2014/main" val="20010"/>
                    </a:ext>
                  </a:extLst>
                </a:gridCol>
                <a:gridCol w="75900">
                  <a:extLst>
                    <a:ext uri="{9D8B030D-6E8A-4147-A177-3AD203B41FA5}">
                      <a16:colId xmlns:a16="http://schemas.microsoft.com/office/drawing/2014/main" val="20011"/>
                    </a:ext>
                  </a:extLst>
                </a:gridCol>
                <a:gridCol w="583389">
                  <a:extLst>
                    <a:ext uri="{9D8B030D-6E8A-4147-A177-3AD203B41FA5}">
                      <a16:colId xmlns:a16="http://schemas.microsoft.com/office/drawing/2014/main" val="20012"/>
                    </a:ext>
                  </a:extLst>
                </a:gridCol>
              </a:tblGrid>
              <a:tr h="748299">
                <a:tc>
                  <a:txBody>
                    <a:bodyPr/>
                    <a:lstStyle/>
                    <a:p>
                      <a:pPr marR="0" indent="0" algn="ctr" rtl="0">
                        <a:lnSpc>
                          <a:spcPct val="119000"/>
                        </a:lnSpc>
                        <a:spcBef>
                          <a:spcPts val="0"/>
                        </a:spcBef>
                        <a:spcAft>
                          <a:spcPts val="600"/>
                        </a:spcAft>
                      </a:pPr>
                      <a:r>
                        <a:rPr lang="en-GB" sz="1200" u="sng" kern="1400" dirty="0">
                          <a:effectLst/>
                        </a:rPr>
                        <a:t>Interaction </a:t>
                      </a:r>
                    </a:p>
                    <a:p>
                      <a:pPr marR="0" indent="0" algn="ctr" rtl="0">
                        <a:lnSpc>
                          <a:spcPct val="119000"/>
                        </a:lnSpc>
                        <a:spcBef>
                          <a:spcPts val="0"/>
                        </a:spcBef>
                        <a:spcAft>
                          <a:spcPts val="600"/>
                        </a:spcAft>
                      </a:pPr>
                      <a:r>
                        <a:rPr lang="en-GB" sz="1200" u="sng" kern="1400" dirty="0">
                          <a:effectLst/>
                        </a:rPr>
                        <a:t>Matrix </a:t>
                      </a:r>
                      <a:endParaRPr lang="en-GB" sz="1200" b="1" u="sng" kern="1400" dirty="0">
                        <a:solidFill>
                          <a:srgbClr val="000000"/>
                        </a:solidFill>
                        <a:effectLst/>
                        <a:latin typeface="CelMyriad"/>
                      </a:endParaRPr>
                    </a:p>
                  </a:txBody>
                  <a:tcPr marL="25250" marR="25250" marT="25250" marB="25250" anchor="ctr">
                    <a:lnL w="28575" cap="flat" cmpd="sng" algn="ctr">
                      <a:solidFill>
                        <a:schemeClr val="tx1"/>
                      </a:solid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Case</a:t>
                      </a:r>
                      <a:endParaRPr lang="en-GB" sz="1000" b="1" kern="1400" dirty="0">
                        <a:solidFill>
                          <a:srgbClr val="000000"/>
                        </a:solidFill>
                        <a:effectLst/>
                        <a:latin typeface="CelMyriad"/>
                      </a:endParaRPr>
                    </a:p>
                  </a:txBody>
                  <a:tcPr marL="25250" marR="25250" marT="25250" marB="25250" anchor="ctr"/>
                </a:tc>
                <a:tc>
                  <a:txBody>
                    <a:bodyPr/>
                    <a:lstStyle/>
                    <a:p>
                      <a:pPr marR="0" indent="0" algn="ctr" rtl="0">
                        <a:lnSpc>
                          <a:spcPct val="119000"/>
                        </a:lnSpc>
                        <a:spcBef>
                          <a:spcPts val="0"/>
                        </a:spcBef>
                        <a:spcAft>
                          <a:spcPts val="0"/>
                        </a:spcAft>
                      </a:pPr>
                      <a:r>
                        <a:rPr lang="en-GB" sz="1000" kern="1400" dirty="0">
                          <a:effectLst/>
                        </a:rPr>
                        <a:t>Shroud</a:t>
                      </a:r>
                      <a:endParaRPr lang="en-GB" sz="1000" b="1" kern="1400" dirty="0">
                        <a:solidFill>
                          <a:srgbClr val="000000"/>
                        </a:solidFill>
                        <a:effectLst/>
                        <a:latin typeface="CelMyriad"/>
                      </a:endParaRPr>
                    </a:p>
                  </a:txBody>
                  <a:tcPr marL="25250" marR="25250" marT="25250" marB="25250" anchor="ctr"/>
                </a:tc>
                <a:tc>
                  <a:txBody>
                    <a:bodyPr/>
                    <a:lstStyle/>
                    <a:p>
                      <a:pPr marR="0" indent="0" algn="ctr" rtl="0">
                        <a:lnSpc>
                          <a:spcPct val="119000"/>
                        </a:lnSpc>
                        <a:spcBef>
                          <a:spcPts val="0"/>
                        </a:spcBef>
                        <a:spcAft>
                          <a:spcPts val="0"/>
                        </a:spcAft>
                      </a:pPr>
                      <a:r>
                        <a:rPr lang="en-GB" sz="1000" kern="1400" dirty="0">
                          <a:effectLst/>
                        </a:rPr>
                        <a:t>Main Spring</a:t>
                      </a:r>
                      <a:endParaRPr lang="en-GB" sz="1000" b="1" kern="1400" dirty="0">
                        <a:solidFill>
                          <a:srgbClr val="000000"/>
                        </a:solidFill>
                        <a:effectLst/>
                        <a:latin typeface="CelMyriad"/>
                      </a:endParaRPr>
                    </a:p>
                  </a:txBody>
                  <a:tcPr marL="25250" marR="25250" marT="25250" marB="25250" anchor="ctr"/>
                </a:tc>
                <a:tc>
                  <a:txBody>
                    <a:bodyPr/>
                    <a:lstStyle/>
                    <a:p>
                      <a:pPr marR="0" indent="0" algn="ctr" rtl="0">
                        <a:lnSpc>
                          <a:spcPct val="119000"/>
                        </a:lnSpc>
                        <a:spcBef>
                          <a:spcPts val="0"/>
                        </a:spcBef>
                        <a:spcAft>
                          <a:spcPts val="0"/>
                        </a:spcAft>
                      </a:pPr>
                      <a:r>
                        <a:rPr lang="en-GB" sz="1000" kern="1400" dirty="0">
                          <a:effectLst/>
                        </a:rPr>
                        <a:t>Return</a:t>
                      </a:r>
                      <a:r>
                        <a:rPr lang="en-GB" sz="1000" kern="1400" baseline="0" dirty="0">
                          <a:effectLst/>
                        </a:rPr>
                        <a:t> Spring</a:t>
                      </a:r>
                      <a:endParaRPr lang="en-GB" sz="1000" b="1" kern="1400" dirty="0">
                        <a:solidFill>
                          <a:srgbClr val="000000"/>
                        </a:solidFill>
                        <a:effectLst/>
                        <a:latin typeface="CelMyriad"/>
                      </a:endParaRPr>
                    </a:p>
                  </a:txBody>
                  <a:tcPr marL="25250" marR="25250" marT="25250" marB="25250" anchor="ctr"/>
                </a:tc>
                <a:tc>
                  <a:txBody>
                    <a:bodyPr/>
                    <a:lstStyle/>
                    <a:p>
                      <a:pPr marR="0" indent="0" algn="ctr" rtl="0">
                        <a:lnSpc>
                          <a:spcPct val="119000"/>
                        </a:lnSpc>
                        <a:spcBef>
                          <a:spcPts val="0"/>
                        </a:spcBef>
                        <a:spcAft>
                          <a:spcPts val="0"/>
                        </a:spcAft>
                      </a:pPr>
                      <a:r>
                        <a:rPr lang="en-GB" sz="1000" kern="1400" dirty="0">
                          <a:effectLst/>
                        </a:rPr>
                        <a:t>Syringe</a:t>
                      </a:r>
                      <a:endParaRPr lang="en-GB" sz="1000" b="1" kern="1400" dirty="0">
                        <a:solidFill>
                          <a:srgbClr val="000000"/>
                        </a:solidFill>
                        <a:effectLst/>
                        <a:latin typeface="CelMyriad"/>
                      </a:endParaRPr>
                    </a:p>
                  </a:txBody>
                  <a:tcPr marL="25250" marR="25250" marT="25250" marB="25250" anchor="ctr"/>
                </a:tc>
                <a:tc>
                  <a:txBody>
                    <a:bodyPr/>
                    <a:lstStyle/>
                    <a:p>
                      <a:pPr marR="0" indent="0" algn="ctr" rtl="0">
                        <a:lnSpc>
                          <a:spcPct val="119000"/>
                        </a:lnSpc>
                        <a:spcBef>
                          <a:spcPts val="0"/>
                        </a:spcBef>
                        <a:spcAft>
                          <a:spcPts val="0"/>
                        </a:spcAft>
                      </a:pPr>
                      <a:r>
                        <a:rPr lang="en-GB" sz="1000" kern="1400" dirty="0">
                          <a:effectLst/>
                        </a:rPr>
                        <a:t>Return</a:t>
                      </a:r>
                      <a:br>
                        <a:rPr lang="en-GB" sz="1000" kern="1400" dirty="0">
                          <a:effectLst/>
                        </a:rPr>
                      </a:br>
                      <a:r>
                        <a:rPr lang="en-GB" sz="1000" kern="1400" dirty="0">
                          <a:effectLst/>
                        </a:rPr>
                        <a:t> Sleeve</a:t>
                      </a:r>
                      <a:endParaRPr lang="en-GB" sz="1000" b="1" kern="1400" dirty="0">
                        <a:solidFill>
                          <a:srgbClr val="000000"/>
                        </a:solidFill>
                        <a:effectLst/>
                        <a:latin typeface="CelMyriad"/>
                      </a:endParaRPr>
                    </a:p>
                  </a:txBody>
                  <a:tcPr marL="25250" marR="25250" marT="25250" marB="25250" anchor="ctr"/>
                </a:tc>
                <a:tc>
                  <a:txBody>
                    <a:bodyPr/>
                    <a:lstStyle/>
                    <a:p>
                      <a:pPr marR="0" indent="0" algn="ctr" rtl="0">
                        <a:lnSpc>
                          <a:spcPct val="119000"/>
                        </a:lnSpc>
                        <a:spcBef>
                          <a:spcPts val="0"/>
                        </a:spcBef>
                        <a:spcAft>
                          <a:spcPts val="0"/>
                        </a:spcAft>
                      </a:pPr>
                      <a:r>
                        <a:rPr lang="en-GB" sz="1000" kern="1400" dirty="0">
                          <a:effectLst/>
                        </a:rPr>
                        <a:t>Driver</a:t>
                      </a:r>
                      <a:endParaRPr lang="en-GB" sz="1000" b="1" kern="1400" dirty="0">
                        <a:solidFill>
                          <a:srgbClr val="000000"/>
                        </a:solidFill>
                        <a:effectLst/>
                        <a:latin typeface="CelMyriad"/>
                      </a:endParaRPr>
                    </a:p>
                  </a:txBody>
                  <a:tcPr marL="25250" marR="25250" marT="25250" marB="25250" anchor="ctr"/>
                </a:tc>
                <a:tc>
                  <a:txBody>
                    <a:bodyPr/>
                    <a:lstStyle/>
                    <a:p>
                      <a:pPr marR="0" indent="0" algn="ctr" rtl="0">
                        <a:lnSpc>
                          <a:spcPct val="119000"/>
                        </a:lnSpc>
                        <a:spcBef>
                          <a:spcPts val="0"/>
                        </a:spcBef>
                        <a:spcAft>
                          <a:spcPts val="0"/>
                        </a:spcAft>
                      </a:pPr>
                      <a:r>
                        <a:rPr lang="en-GB" sz="1000" kern="1400" dirty="0">
                          <a:effectLst/>
                        </a:rPr>
                        <a:t>Release</a:t>
                      </a:r>
                      <a:endParaRPr lang="en-GB" sz="1000" b="1" kern="1400" dirty="0">
                        <a:solidFill>
                          <a:srgbClr val="000000"/>
                        </a:solidFill>
                        <a:effectLst/>
                        <a:latin typeface="CelMyriad"/>
                      </a:endParaRPr>
                    </a:p>
                  </a:txBody>
                  <a:tcPr marL="25250" marR="25250" marT="25250" marB="25250" anchor="ctr"/>
                </a:tc>
                <a:tc>
                  <a:txBody>
                    <a:bodyPr/>
                    <a:lstStyle/>
                    <a:p>
                      <a:pPr marR="0" indent="0" algn="ctr" rtl="0">
                        <a:lnSpc>
                          <a:spcPct val="119000"/>
                        </a:lnSpc>
                        <a:spcBef>
                          <a:spcPts val="0"/>
                        </a:spcBef>
                        <a:spcAft>
                          <a:spcPts val="0"/>
                        </a:spcAft>
                      </a:pPr>
                      <a:r>
                        <a:rPr lang="en-GB" sz="1000" kern="1400" dirty="0">
                          <a:effectLst/>
                        </a:rPr>
                        <a:t>Button</a:t>
                      </a:r>
                      <a:endParaRPr lang="en-GB" sz="1000" b="1" kern="1400" dirty="0">
                        <a:solidFill>
                          <a:srgbClr val="000000"/>
                        </a:solidFill>
                        <a:effectLst/>
                        <a:latin typeface="CelMyriad"/>
                      </a:endParaRPr>
                    </a:p>
                  </a:txBody>
                  <a:tcPr marL="25250" marR="25250" marT="25250" marB="25250" anchor="ctr"/>
                </a:tc>
                <a:tc>
                  <a:txBody>
                    <a:bodyPr/>
                    <a:lstStyle/>
                    <a:p>
                      <a:pPr marR="0" indent="0" algn="ctr" rtl="0">
                        <a:lnSpc>
                          <a:spcPct val="119000"/>
                        </a:lnSpc>
                        <a:spcBef>
                          <a:spcPts val="0"/>
                        </a:spcBef>
                        <a:spcAft>
                          <a:spcPts val="0"/>
                        </a:spcAft>
                      </a:pPr>
                      <a:r>
                        <a:rPr lang="en-GB" sz="1000" kern="1400" dirty="0">
                          <a:effectLst/>
                        </a:rPr>
                        <a:t>Button Spring</a:t>
                      </a:r>
                      <a:endParaRPr lang="en-GB" sz="1000" b="1" kern="1400" dirty="0">
                        <a:solidFill>
                          <a:srgbClr val="000000"/>
                        </a:solidFill>
                        <a:effectLst/>
                        <a:latin typeface="CelMyriad"/>
                      </a:endParaRPr>
                    </a:p>
                  </a:txBody>
                  <a:tcPr marL="25250" marR="25250" marT="25250" marB="25250" anchor="ctr"/>
                </a:tc>
                <a:tc>
                  <a:txBody>
                    <a:bodyPr/>
                    <a:lstStyle/>
                    <a:p>
                      <a:endParaRPr lang="en-US" sz="100" dirty="0"/>
                    </a:p>
                  </a:txBody>
                  <a:tcPr marL="25250" marR="25250" marT="25250" marB="25250" anchor="ctr"/>
                </a:tc>
                <a:tc>
                  <a:txBody>
                    <a:bodyPr/>
                    <a:lstStyle/>
                    <a:p>
                      <a:pPr marR="0" indent="0" algn="ctr" rtl="0">
                        <a:lnSpc>
                          <a:spcPct val="119000"/>
                        </a:lnSpc>
                        <a:spcBef>
                          <a:spcPts val="0"/>
                        </a:spcBef>
                        <a:spcAft>
                          <a:spcPts val="0"/>
                        </a:spcAft>
                      </a:pPr>
                      <a:endParaRPr lang="en-GB" sz="1000" b="1" kern="1400" dirty="0">
                        <a:solidFill>
                          <a:srgbClr val="000000"/>
                        </a:solidFill>
                        <a:effectLst/>
                        <a:latin typeface="CelMyriad"/>
                      </a:endParaRPr>
                    </a:p>
                  </a:txBody>
                  <a:tcPr marL="25250" marR="25250" marT="25250" marB="25250" anchor="ctr"/>
                </a:tc>
                <a:extLst>
                  <a:ext uri="{0D108BD9-81ED-4DB2-BD59-A6C34878D82A}">
                    <a16:rowId xmlns:a16="http://schemas.microsoft.com/office/drawing/2014/main" val="10000"/>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Case</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tcPr>
                </a:tc>
                <a:tc>
                  <a:txBody>
                    <a:bodyPr/>
                    <a:lstStyle/>
                    <a:p>
                      <a:pPr marR="0" indent="0" algn="ctr" rtl="0">
                        <a:lnSpc>
                          <a:spcPct val="119000"/>
                        </a:lnSpc>
                        <a:spcBef>
                          <a:spcPts val="0"/>
                        </a:spcBef>
                        <a:spcAft>
                          <a:spcPts val="60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S</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3"/>
                    </a:solidFill>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lumMod val="85000"/>
                      </a:schemeClr>
                    </a:solidFill>
                  </a:tcPr>
                </a:tc>
                <a:tc>
                  <a:txBody>
                    <a:bodyPr/>
                    <a:lstStyle/>
                    <a:p>
                      <a:endParaRPr lang="en-US" sz="100" dirty="0"/>
                    </a:p>
                  </a:txBody>
                  <a:tcPr marL="25250" marR="25250" marT="25250" marB="25250" anchor="ctr">
                    <a:solidFill>
                      <a:schemeClr val="accent1"/>
                    </a:solidFill>
                  </a:tcPr>
                </a:tc>
                <a:tc>
                  <a:txBody>
                    <a:bodyPr/>
                    <a:lstStyle/>
                    <a:p>
                      <a:pPr marR="0" indent="0" algn="ctr" rtl="0">
                        <a:lnSpc>
                          <a:spcPct val="119000"/>
                        </a:lnSpc>
                        <a:spcBef>
                          <a:spcPts val="0"/>
                        </a:spcBef>
                        <a:spcAft>
                          <a:spcPts val="0"/>
                        </a:spcAft>
                      </a:pPr>
                      <a:r>
                        <a:rPr lang="en-GB" sz="1000" b="1" kern="1400" dirty="0">
                          <a:solidFill>
                            <a:schemeClr val="bg1"/>
                          </a:solidFill>
                          <a:effectLst/>
                        </a:rPr>
                        <a:t>D</a:t>
                      </a:r>
                      <a:endParaRPr lang="en-GB" sz="1000" b="1" kern="1400" dirty="0">
                        <a:solidFill>
                          <a:schemeClr val="bg1"/>
                        </a:solidFill>
                        <a:effectLst/>
                        <a:latin typeface="+mn-lt"/>
                        <a:ea typeface="+mn-ea"/>
                        <a:cs typeface="+mn-cs"/>
                      </a:endParaRPr>
                    </a:p>
                  </a:txBody>
                  <a:tcPr marL="25250" marR="25250" marT="25250" marB="25250" anchor="ctr">
                    <a:solidFill>
                      <a:schemeClr val="tx2"/>
                    </a:solidFill>
                  </a:tcPr>
                </a:tc>
                <a:extLst>
                  <a:ext uri="{0D108BD9-81ED-4DB2-BD59-A6C34878D82A}">
                    <a16:rowId xmlns:a16="http://schemas.microsoft.com/office/drawing/2014/main" val="10001"/>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Shroud</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100" dirty="0"/>
                    </a:p>
                  </a:txBody>
                  <a:tcPr marL="25250" marR="25250" marT="25250" marB="25250" anchor="ctr">
                    <a:solidFill>
                      <a:schemeClr val="accent1"/>
                    </a:solidFill>
                  </a:tcPr>
                </a:tc>
                <a:tc>
                  <a:txBody>
                    <a:bodyPr/>
                    <a:lstStyle/>
                    <a:p>
                      <a:pPr marR="0" indent="0" algn="ctr" rtl="0">
                        <a:lnSpc>
                          <a:spcPct val="119000"/>
                        </a:lnSpc>
                        <a:spcBef>
                          <a:spcPts val="0"/>
                        </a:spcBef>
                        <a:spcAft>
                          <a:spcPts val="0"/>
                        </a:spcAft>
                      </a:pPr>
                      <a:r>
                        <a:rPr lang="en-GB" sz="1000" b="1" kern="1400" dirty="0">
                          <a:solidFill>
                            <a:schemeClr val="bg1"/>
                          </a:solidFill>
                          <a:effectLst/>
                        </a:rPr>
                        <a:t>Dynamic</a:t>
                      </a:r>
                      <a:endParaRPr lang="en-GB" sz="1000" b="1" kern="1400" dirty="0">
                        <a:solidFill>
                          <a:schemeClr val="bg1"/>
                        </a:solidFill>
                        <a:effectLst/>
                        <a:latin typeface="+mn-lt"/>
                      </a:endParaRPr>
                    </a:p>
                  </a:txBody>
                  <a:tcPr marL="25250" marR="25250" marT="25250" marB="25250" anchor="ctr">
                    <a:solidFill>
                      <a:schemeClr val="tx2"/>
                    </a:solidFill>
                  </a:tcPr>
                </a:tc>
                <a:extLst>
                  <a:ext uri="{0D108BD9-81ED-4DB2-BD59-A6C34878D82A}">
                    <a16:rowId xmlns:a16="http://schemas.microsoft.com/office/drawing/2014/main" val="10002"/>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Main</a:t>
                      </a:r>
                      <a:r>
                        <a:rPr lang="en-GB" sz="1000" kern="1400" baseline="0" dirty="0">
                          <a:effectLst/>
                        </a:rPr>
                        <a:t> Spring</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a:effectLst/>
                        </a:rPr>
                        <a:t> </a:t>
                      </a:r>
                      <a:endParaRPr lang="en-GB" sz="1000" kern="140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a:effectLst/>
                        </a:rPr>
                        <a:t> </a:t>
                      </a:r>
                      <a:endParaRPr lang="en-GB" sz="1000" kern="140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endParaRPr lang="en-GB" sz="100" kern="1400" dirty="0">
                        <a:solidFill>
                          <a:srgbClr val="000000"/>
                        </a:solidFill>
                        <a:effectLst/>
                        <a:latin typeface="CelMyriad"/>
                      </a:endParaRPr>
                    </a:p>
                  </a:txBody>
                  <a:tcPr marL="25250" marR="25250" marT="25250" marB="25250" anchor="ctr">
                    <a:solidFill>
                      <a:schemeClr val="accent1"/>
                    </a:solidFill>
                  </a:tcPr>
                </a:tc>
                <a:tc>
                  <a:txBody>
                    <a:bodyPr/>
                    <a:lstStyle/>
                    <a:p>
                      <a:pPr marL="0" marR="0" indent="0" algn="ctr" defTabSz="914400" rtl="0" eaLnBrk="1" latinLnBrk="0" hangingPunct="1">
                        <a:lnSpc>
                          <a:spcPct val="119000"/>
                        </a:lnSpc>
                        <a:spcBef>
                          <a:spcPts val="0"/>
                        </a:spcBef>
                        <a:spcAft>
                          <a:spcPts val="0"/>
                        </a:spcAft>
                      </a:pPr>
                      <a:endParaRPr lang="en-GB" sz="1000" kern="1400" dirty="0">
                        <a:solidFill>
                          <a:srgbClr val="000000"/>
                        </a:solidFill>
                        <a:effectLst/>
                        <a:latin typeface="+mn-lt"/>
                        <a:ea typeface="+mn-ea"/>
                        <a:cs typeface="+mn-cs"/>
                      </a:endParaRPr>
                    </a:p>
                  </a:txBody>
                  <a:tcPr marL="25250" marR="25250" marT="25250" marB="25250" anchor="ctr"/>
                </a:tc>
                <a:extLst>
                  <a:ext uri="{0D108BD9-81ED-4DB2-BD59-A6C34878D82A}">
                    <a16:rowId xmlns:a16="http://schemas.microsoft.com/office/drawing/2014/main" val="10003"/>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Return Spring</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endParaRPr lang="en-GB" sz="100" kern="1400" dirty="0">
                        <a:solidFill>
                          <a:srgbClr val="000000"/>
                        </a:solidFill>
                        <a:effectLst/>
                        <a:latin typeface="CelMyriad"/>
                      </a:endParaRPr>
                    </a:p>
                  </a:txBody>
                  <a:tcPr marL="25250" marR="25250" marT="25250" marB="25250" anchor="ctr">
                    <a:solidFill>
                      <a:schemeClr val="accent1"/>
                    </a:solidFill>
                  </a:tcPr>
                </a:tc>
                <a:tc>
                  <a:txBody>
                    <a:bodyPr/>
                    <a:lstStyle/>
                    <a:p>
                      <a:pPr marL="0" marR="0" indent="0" algn="ctr" defTabSz="914400" rtl="0" eaLnBrk="1" latinLnBrk="0" hangingPunct="1">
                        <a:lnSpc>
                          <a:spcPct val="119000"/>
                        </a:lnSpc>
                        <a:spcBef>
                          <a:spcPts val="0"/>
                        </a:spcBef>
                        <a:spcAft>
                          <a:spcPts val="0"/>
                        </a:spcAft>
                      </a:pPr>
                      <a:r>
                        <a:rPr lang="en-GB" sz="1000" b="1" kern="1400" dirty="0">
                          <a:solidFill>
                            <a:schemeClr val="bg1"/>
                          </a:solidFill>
                          <a:effectLst/>
                        </a:rPr>
                        <a:t>S</a:t>
                      </a:r>
                      <a:endParaRPr lang="en-GB" sz="1000" b="1" kern="1400" dirty="0">
                        <a:solidFill>
                          <a:schemeClr val="bg1"/>
                        </a:solidFill>
                        <a:effectLst/>
                        <a:latin typeface="+mn-lt"/>
                        <a:ea typeface="+mn-ea"/>
                        <a:cs typeface="+mn-cs"/>
                      </a:endParaRPr>
                    </a:p>
                  </a:txBody>
                  <a:tcPr marL="25250" marR="25250" marT="25250" marB="25250" anchor="ctr">
                    <a:solidFill>
                      <a:schemeClr val="accent3"/>
                    </a:solidFill>
                  </a:tcPr>
                </a:tc>
                <a:extLst>
                  <a:ext uri="{0D108BD9-81ED-4DB2-BD59-A6C34878D82A}">
                    <a16:rowId xmlns:a16="http://schemas.microsoft.com/office/drawing/2014/main" val="10004"/>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Syringe</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S</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3"/>
                    </a:solidFill>
                  </a:tcPr>
                </a:tc>
                <a:tc>
                  <a:txBody>
                    <a:bodyPr/>
                    <a:lstStyle/>
                    <a:p>
                      <a:pPr marR="0" indent="0" algn="ctr" rtl="0">
                        <a:lnSpc>
                          <a:spcPct val="119000"/>
                        </a:lnSpc>
                        <a:spcBef>
                          <a:spcPts val="0"/>
                        </a:spcBef>
                        <a:spcAft>
                          <a:spcPts val="0"/>
                        </a:spcAft>
                      </a:pP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endParaRPr lang="en-GB" sz="100" kern="1400" dirty="0">
                        <a:solidFill>
                          <a:srgbClr val="000000"/>
                        </a:solidFill>
                        <a:effectLst/>
                        <a:latin typeface="CelMyriad"/>
                      </a:endParaRPr>
                    </a:p>
                  </a:txBody>
                  <a:tcPr marL="25250" marR="25250" marT="25250" marB="25250" anchor="ctr">
                    <a:solidFill>
                      <a:schemeClr val="accent1"/>
                    </a:solidFill>
                  </a:tcPr>
                </a:tc>
                <a:tc>
                  <a:txBody>
                    <a:bodyPr/>
                    <a:lstStyle/>
                    <a:p>
                      <a:pPr marL="0" marR="0" indent="0" algn="ctr" defTabSz="914400" rtl="0" eaLnBrk="1" latinLnBrk="0" hangingPunct="1">
                        <a:lnSpc>
                          <a:spcPct val="119000"/>
                        </a:lnSpc>
                        <a:spcBef>
                          <a:spcPts val="0"/>
                        </a:spcBef>
                        <a:spcAft>
                          <a:spcPts val="0"/>
                        </a:spcAft>
                      </a:pPr>
                      <a:r>
                        <a:rPr lang="en-GB" sz="1000" b="1" kern="1400" dirty="0">
                          <a:solidFill>
                            <a:schemeClr val="bg1"/>
                          </a:solidFill>
                          <a:effectLst/>
                        </a:rPr>
                        <a:t>Static</a:t>
                      </a:r>
                      <a:endParaRPr lang="en-GB" sz="1000" b="1" kern="1400" dirty="0">
                        <a:solidFill>
                          <a:schemeClr val="bg1"/>
                        </a:solidFill>
                        <a:effectLst/>
                        <a:latin typeface="+mn-lt"/>
                        <a:ea typeface="+mn-ea"/>
                        <a:cs typeface="+mn-cs"/>
                      </a:endParaRPr>
                    </a:p>
                  </a:txBody>
                  <a:tcPr marL="25250" marR="25250" marT="25250" marB="25250" anchor="ctr">
                    <a:solidFill>
                      <a:schemeClr val="accent3"/>
                    </a:solidFill>
                  </a:tcPr>
                </a:tc>
                <a:extLst>
                  <a:ext uri="{0D108BD9-81ED-4DB2-BD59-A6C34878D82A}">
                    <a16:rowId xmlns:a16="http://schemas.microsoft.com/office/drawing/2014/main" val="10005"/>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Return</a:t>
                      </a:r>
                      <a:r>
                        <a:rPr lang="en-GB" sz="1000" kern="1400" baseline="0" dirty="0">
                          <a:effectLst/>
                        </a:rPr>
                        <a:t> Sleeve </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endParaRPr lang="en-GB" sz="100" kern="1400" dirty="0">
                        <a:solidFill>
                          <a:srgbClr val="000000"/>
                        </a:solidFill>
                        <a:effectLst/>
                        <a:latin typeface="CelMyriad"/>
                      </a:endParaRPr>
                    </a:p>
                  </a:txBody>
                  <a:tcPr marL="25250" marR="25250" marT="25250" marB="25250" anchor="ctr">
                    <a:solidFill>
                      <a:schemeClr val="accent1"/>
                    </a:solidFill>
                  </a:tcPr>
                </a:tc>
                <a:tc>
                  <a:txBody>
                    <a:bodyPr/>
                    <a:lstStyle/>
                    <a:p>
                      <a:pPr marR="0" indent="0" algn="ctr" rtl="0">
                        <a:lnSpc>
                          <a:spcPct val="119000"/>
                        </a:lnSpc>
                        <a:spcBef>
                          <a:spcPts val="0"/>
                        </a:spcBef>
                        <a:spcAft>
                          <a:spcPts val="0"/>
                        </a:spcAft>
                      </a:pPr>
                      <a:endParaRPr lang="en-GB" sz="1000" kern="1400" dirty="0">
                        <a:solidFill>
                          <a:srgbClr val="000000"/>
                        </a:solidFill>
                        <a:effectLst/>
                        <a:latin typeface="CelMyriad"/>
                      </a:endParaRPr>
                    </a:p>
                  </a:txBody>
                  <a:tcPr marL="25250" marR="25250" marT="25250" marB="25250" anchor="ctr"/>
                </a:tc>
                <a:extLst>
                  <a:ext uri="{0D108BD9-81ED-4DB2-BD59-A6C34878D82A}">
                    <a16:rowId xmlns:a16="http://schemas.microsoft.com/office/drawing/2014/main" val="10006"/>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Driver</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endParaRPr lang="en-GB" sz="100" kern="1400" dirty="0">
                        <a:solidFill>
                          <a:srgbClr val="000000"/>
                        </a:solidFill>
                        <a:effectLst/>
                        <a:latin typeface="CelMyriad"/>
                      </a:endParaRPr>
                    </a:p>
                  </a:txBody>
                  <a:tcPr marL="25250" marR="25250" marT="25250" marB="25250" anchor="ctr">
                    <a:solidFill>
                      <a:schemeClr val="accent1"/>
                    </a:solidFill>
                  </a:tcPr>
                </a:tc>
                <a:tc>
                  <a:txBody>
                    <a:bodyPr/>
                    <a:lstStyle/>
                    <a:p>
                      <a:pPr marR="0" indent="0" algn="ctr" rtl="0">
                        <a:lnSpc>
                          <a:spcPct val="119000"/>
                        </a:lnSpc>
                        <a:spcBef>
                          <a:spcPts val="0"/>
                        </a:spcBef>
                        <a:spcAft>
                          <a:spcPts val="0"/>
                        </a:spcAft>
                      </a:pPr>
                      <a:r>
                        <a:rPr lang="en-GB" sz="1000" b="0" kern="1400" dirty="0">
                          <a:solidFill>
                            <a:schemeClr val="tx1"/>
                          </a:solidFill>
                          <a:effectLst/>
                          <a:latin typeface="+mn-lt"/>
                          <a:ea typeface="+mn-ea"/>
                          <a:cs typeface="+mn-cs"/>
                        </a:rPr>
                        <a:t>X</a:t>
                      </a:r>
                    </a:p>
                  </a:txBody>
                  <a:tcPr marL="25250" marR="25250" marT="25250" marB="25250" anchor="ctr">
                    <a:solidFill>
                      <a:schemeClr val="bg1">
                        <a:lumMod val="85000"/>
                      </a:schemeClr>
                    </a:solidFill>
                  </a:tcPr>
                </a:tc>
                <a:extLst>
                  <a:ext uri="{0D108BD9-81ED-4DB2-BD59-A6C34878D82A}">
                    <a16:rowId xmlns:a16="http://schemas.microsoft.com/office/drawing/2014/main" val="10007"/>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Release </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endParaRPr lang="en-GB" sz="100" kern="1400" dirty="0">
                        <a:solidFill>
                          <a:srgbClr val="000000"/>
                        </a:solidFill>
                        <a:effectLst/>
                        <a:latin typeface="CelMyriad"/>
                      </a:endParaRPr>
                    </a:p>
                  </a:txBody>
                  <a:tcPr marL="25250" marR="25250" marT="25250" marB="25250" anchor="ctr">
                    <a:solidFill>
                      <a:schemeClr val="accent1"/>
                    </a:solidFill>
                  </a:tcPr>
                </a:tc>
                <a:tc rowSpan="3">
                  <a:txBody>
                    <a:bodyPr/>
                    <a:lstStyle/>
                    <a:p>
                      <a:pPr marR="0" indent="0" algn="ctr" rtl="0">
                        <a:lnSpc>
                          <a:spcPct val="119000"/>
                        </a:lnSpc>
                        <a:spcBef>
                          <a:spcPts val="0"/>
                        </a:spcBef>
                        <a:spcAft>
                          <a:spcPts val="0"/>
                        </a:spcAft>
                      </a:pPr>
                      <a:r>
                        <a:rPr lang="en-US" sz="1000" b="0" kern="1400" dirty="0">
                          <a:solidFill>
                            <a:schemeClr val="tx1"/>
                          </a:solidFill>
                          <a:effectLst/>
                          <a:latin typeface="+mn-lt"/>
                          <a:ea typeface="+mn-ea"/>
                          <a:cs typeface="+mn-cs"/>
                        </a:rPr>
                        <a:t>Not of concern in this analysis</a:t>
                      </a:r>
                      <a:endParaRPr lang="en-GB" sz="1000" b="0" kern="1400" dirty="0">
                        <a:solidFill>
                          <a:schemeClr val="tx1"/>
                        </a:solidFill>
                        <a:effectLst/>
                        <a:latin typeface="+mn-lt"/>
                        <a:ea typeface="+mn-ea"/>
                        <a:cs typeface="+mn-cs"/>
                      </a:endParaRPr>
                    </a:p>
                  </a:txBody>
                  <a:tcPr marL="25250" marR="25250" marT="25250" marB="25250" anchor="ctr">
                    <a:solidFill>
                      <a:schemeClr val="bg1">
                        <a:lumMod val="85000"/>
                      </a:schemeClr>
                    </a:solidFill>
                  </a:tcPr>
                </a:tc>
                <a:extLst>
                  <a:ext uri="{0D108BD9-81ED-4DB2-BD59-A6C34878D82A}">
                    <a16:rowId xmlns:a16="http://schemas.microsoft.com/office/drawing/2014/main" val="10008"/>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Button</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R="0" indent="0" algn="ctr" rtl="0">
                        <a:lnSpc>
                          <a:spcPct val="119000"/>
                        </a:lnSpc>
                        <a:spcBef>
                          <a:spcPts val="0"/>
                        </a:spcBef>
                        <a:spcAft>
                          <a:spcPts val="0"/>
                        </a:spcAft>
                      </a:pPr>
                      <a:endParaRPr lang="en-GB" sz="100" kern="1400" dirty="0">
                        <a:solidFill>
                          <a:srgbClr val="000000"/>
                        </a:solidFill>
                        <a:effectLst/>
                        <a:latin typeface="CelMyriad"/>
                      </a:endParaRPr>
                    </a:p>
                  </a:txBody>
                  <a:tcPr marL="25250" marR="25250" marT="25250" marB="25250" anchor="ctr">
                    <a:solidFill>
                      <a:schemeClr val="accent1"/>
                    </a:solidFill>
                  </a:tcPr>
                </a:tc>
                <a:tc vMerge="1">
                  <a:txBody>
                    <a:bodyPr/>
                    <a:lstStyle/>
                    <a:p>
                      <a:pPr marR="0" indent="0" algn="ctr" rtl="0">
                        <a:lnSpc>
                          <a:spcPct val="119000"/>
                        </a:lnSpc>
                        <a:spcBef>
                          <a:spcPts val="0"/>
                        </a:spcBef>
                        <a:spcAft>
                          <a:spcPts val="0"/>
                        </a:spcAft>
                      </a:pPr>
                      <a:endParaRPr lang="en-GB" sz="1000" kern="1400" dirty="0">
                        <a:solidFill>
                          <a:srgbClr val="000000"/>
                        </a:solidFill>
                        <a:effectLst/>
                        <a:latin typeface="CelMyriad"/>
                      </a:endParaRPr>
                    </a:p>
                  </a:txBody>
                  <a:tcPr marL="25250" marR="25250" marT="25250" marB="25250" anchor="ctr"/>
                </a:tc>
                <a:extLst>
                  <a:ext uri="{0D108BD9-81ED-4DB2-BD59-A6C34878D82A}">
                    <a16:rowId xmlns:a16="http://schemas.microsoft.com/office/drawing/2014/main" val="10009"/>
                  </a:ext>
                </a:extLst>
              </a:tr>
              <a:tr h="309600">
                <a:tc>
                  <a:txBody>
                    <a:bodyPr/>
                    <a:lstStyle/>
                    <a:p>
                      <a:pPr marL="0" marR="0" indent="0" algn="l" defTabSz="914400" rtl="0" eaLnBrk="1" latinLnBrk="0" hangingPunct="1">
                        <a:lnSpc>
                          <a:spcPct val="119000"/>
                        </a:lnSpc>
                        <a:spcBef>
                          <a:spcPts val="0"/>
                        </a:spcBef>
                        <a:spcAft>
                          <a:spcPts val="0"/>
                        </a:spcAft>
                      </a:pPr>
                      <a:r>
                        <a:rPr lang="en-GB" sz="1000" kern="1400" dirty="0">
                          <a:effectLst/>
                        </a:rPr>
                        <a:t>Button Spring</a:t>
                      </a:r>
                      <a:endParaRPr lang="en-GB" sz="10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tcPr>
                </a:tc>
                <a:tc>
                  <a:txBody>
                    <a:bodyPr/>
                    <a:lstStyle/>
                    <a:p>
                      <a:pPr marR="0" indent="0" algn="ctr" rtl="0">
                        <a:lnSpc>
                          <a:spcPct val="119000"/>
                        </a:lnSpc>
                        <a:spcBef>
                          <a:spcPts val="0"/>
                        </a:spcBef>
                        <a:spcAft>
                          <a:spcPts val="0"/>
                        </a:spcAft>
                      </a:pPr>
                      <a:r>
                        <a:rPr lang="en-GB" sz="1000" kern="1400" dirty="0">
                          <a:effectLst/>
                        </a:rPr>
                        <a:t>x</a:t>
                      </a:r>
                      <a:endParaRPr lang="en-GB" sz="1000" kern="1400" dirty="0">
                        <a:solidFill>
                          <a:srgbClr val="000000"/>
                        </a:solidFill>
                        <a:effectLst/>
                        <a:latin typeface="CelMyriad"/>
                      </a:endParaRPr>
                    </a:p>
                  </a:txBody>
                  <a:tcPr marL="25250" marR="25250" marT="25250" marB="25250"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chemeClr val="bg1">
                        <a:lumMod val="85000"/>
                      </a:schemeClr>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chemeClr val="tx2"/>
                    </a:solidFill>
                  </a:tcPr>
                </a:tc>
                <a:tc>
                  <a:txBody>
                    <a:bodyPr/>
                    <a:lstStyle/>
                    <a:p>
                      <a:pPr marR="0" indent="0" algn="ctr" rtl="0">
                        <a:lnSpc>
                          <a:spcPct val="119000"/>
                        </a:lnSpc>
                        <a:spcBef>
                          <a:spcPts val="0"/>
                        </a:spcBef>
                        <a:spcAft>
                          <a:spcPts val="0"/>
                        </a:spcAft>
                      </a:pPr>
                      <a:r>
                        <a:rPr lang="en-GB" sz="1000" kern="1400" dirty="0">
                          <a:effectLst/>
                        </a:rPr>
                        <a:t>D</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chemeClr val="tx2"/>
                    </a:solidFill>
                  </a:tcPr>
                </a:tc>
                <a:tc>
                  <a:txBody>
                    <a:bodyPr/>
                    <a:lstStyle/>
                    <a:p>
                      <a:pPr marR="0" indent="0" algn="ctr" rtl="0">
                        <a:lnSpc>
                          <a:spcPct val="119000"/>
                        </a:lnSpc>
                        <a:spcBef>
                          <a:spcPts val="0"/>
                        </a:spcBef>
                        <a:spcAft>
                          <a:spcPts val="0"/>
                        </a:spcAft>
                      </a:pPr>
                      <a:r>
                        <a:rPr lang="en-GB" sz="1000" kern="1400" dirty="0">
                          <a:effectLst/>
                        </a:rPr>
                        <a:t> </a:t>
                      </a:r>
                      <a:endParaRPr lang="en-GB" sz="1000" kern="1400" dirty="0">
                        <a:solidFill>
                          <a:srgbClr val="000000"/>
                        </a:solidFill>
                        <a:effectLst/>
                        <a:latin typeface="CelMyriad"/>
                      </a:endParaRPr>
                    </a:p>
                  </a:txBody>
                  <a:tcPr marL="25250" marR="25250" marT="25250" marB="25250"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a:txBody>
                    <a:bodyPr/>
                    <a:lstStyle/>
                    <a:p>
                      <a:pPr marR="0" indent="0" algn="ctr" rtl="0">
                        <a:lnSpc>
                          <a:spcPct val="119000"/>
                        </a:lnSpc>
                        <a:spcBef>
                          <a:spcPts val="0"/>
                        </a:spcBef>
                        <a:spcAft>
                          <a:spcPts val="0"/>
                        </a:spcAft>
                      </a:pPr>
                      <a:endParaRPr lang="en-GB" sz="100" kern="1400" dirty="0">
                        <a:solidFill>
                          <a:srgbClr val="000000"/>
                        </a:solidFill>
                        <a:effectLst/>
                        <a:latin typeface="CelMyriad"/>
                      </a:endParaRPr>
                    </a:p>
                  </a:txBody>
                  <a:tcPr marL="25250" marR="25250" marT="25250" marB="25250" anchor="ctr">
                    <a:solidFill>
                      <a:schemeClr val="accent1"/>
                    </a:solidFill>
                  </a:tcPr>
                </a:tc>
                <a:tc vMerge="1">
                  <a:txBody>
                    <a:bodyPr/>
                    <a:lstStyle/>
                    <a:p>
                      <a:pPr marR="0" indent="0" algn="ctr" rtl="0">
                        <a:lnSpc>
                          <a:spcPct val="119000"/>
                        </a:lnSpc>
                        <a:spcBef>
                          <a:spcPts val="0"/>
                        </a:spcBef>
                        <a:spcAft>
                          <a:spcPts val="0"/>
                        </a:spcAft>
                      </a:pPr>
                      <a:endParaRPr lang="en-GB" sz="1000" kern="1400" dirty="0">
                        <a:solidFill>
                          <a:srgbClr val="000000"/>
                        </a:solidFill>
                        <a:effectLst/>
                        <a:latin typeface="CelMyriad"/>
                      </a:endParaRPr>
                    </a:p>
                  </a:txBody>
                  <a:tcPr marL="25250" marR="25250" marT="25250" marB="25250" anchor="ctr"/>
                </a:tc>
                <a:extLst>
                  <a:ext uri="{0D108BD9-81ED-4DB2-BD59-A6C34878D82A}">
                    <a16:rowId xmlns:a16="http://schemas.microsoft.com/office/drawing/2014/main" val="10010"/>
                  </a:ext>
                </a:extLst>
              </a:tr>
            </a:tbl>
          </a:graphicData>
        </a:graphic>
      </p:graphicFrame>
      <p:grpSp>
        <p:nvGrpSpPr>
          <p:cNvPr id="25" name="Gruppieren 24"/>
          <p:cNvGrpSpPr/>
          <p:nvPr/>
        </p:nvGrpSpPr>
        <p:grpSpPr>
          <a:xfrm>
            <a:off x="241617" y="844950"/>
            <a:ext cx="2501018" cy="3825338"/>
            <a:chOff x="241617" y="844950"/>
            <a:chExt cx="2501018" cy="3825338"/>
          </a:xfrm>
        </p:grpSpPr>
        <p:grpSp>
          <p:nvGrpSpPr>
            <p:cNvPr id="24" name="Gruppieren 23"/>
            <p:cNvGrpSpPr/>
            <p:nvPr/>
          </p:nvGrpSpPr>
          <p:grpSpPr>
            <a:xfrm>
              <a:off x="241617" y="844950"/>
              <a:ext cx="2501018" cy="3825338"/>
              <a:chOff x="36544" y="868445"/>
              <a:chExt cx="2501018" cy="3825338"/>
            </a:xfrm>
          </p:grpSpPr>
          <p:pic>
            <p:nvPicPr>
              <p:cNvPr id="24578"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rot="5400000">
                <a:off x="-666144" y="2538589"/>
                <a:ext cx="3825338" cy="48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Line Callout 2 3"/>
              <p:cNvSpPr/>
              <p:nvPr/>
            </p:nvSpPr>
            <p:spPr>
              <a:xfrm>
                <a:off x="1743953" y="937893"/>
                <a:ext cx="585052" cy="153554"/>
              </a:xfrm>
              <a:prstGeom prst="borderCallout2">
                <a:avLst>
                  <a:gd name="adj1" fmla="val 18750"/>
                  <a:gd name="adj2" fmla="val -8333"/>
                  <a:gd name="adj3" fmla="val 18750"/>
                  <a:gd name="adj4" fmla="val -16667"/>
                  <a:gd name="adj5" fmla="val 183845"/>
                  <a:gd name="adj6" fmla="val -52273"/>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Shroud</a:t>
                </a:r>
              </a:p>
            </p:txBody>
          </p:sp>
          <p:sp>
            <p:nvSpPr>
              <p:cNvPr id="8" name="Line Callout 2 7"/>
              <p:cNvSpPr/>
              <p:nvPr/>
            </p:nvSpPr>
            <p:spPr>
              <a:xfrm>
                <a:off x="1762675" y="1274927"/>
                <a:ext cx="585052" cy="153554"/>
              </a:xfrm>
              <a:prstGeom prst="borderCallout2">
                <a:avLst>
                  <a:gd name="adj1" fmla="val 18750"/>
                  <a:gd name="adj2" fmla="val -8333"/>
                  <a:gd name="adj3" fmla="val 18750"/>
                  <a:gd name="adj4" fmla="val -16667"/>
                  <a:gd name="adj5" fmla="val 273746"/>
                  <a:gd name="adj6" fmla="val -53057"/>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Case</a:t>
                </a:r>
              </a:p>
            </p:txBody>
          </p:sp>
          <p:sp>
            <p:nvSpPr>
              <p:cNvPr id="12" name="Line Callout 2 11"/>
              <p:cNvSpPr/>
              <p:nvPr/>
            </p:nvSpPr>
            <p:spPr>
              <a:xfrm>
                <a:off x="77533" y="3086144"/>
                <a:ext cx="810071" cy="153554"/>
              </a:xfrm>
              <a:prstGeom prst="borderCallout2">
                <a:avLst>
                  <a:gd name="adj1" fmla="val 38599"/>
                  <a:gd name="adj2" fmla="val 100783"/>
                  <a:gd name="adj3" fmla="val 43561"/>
                  <a:gd name="adj4" fmla="val 110321"/>
                  <a:gd name="adj5" fmla="val 272579"/>
                  <a:gd name="adj6" fmla="val 125214"/>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Main Spring</a:t>
                </a:r>
              </a:p>
            </p:txBody>
          </p:sp>
          <p:sp>
            <p:nvSpPr>
              <p:cNvPr id="13" name="Line Callout 2 12"/>
              <p:cNvSpPr/>
              <p:nvPr/>
            </p:nvSpPr>
            <p:spPr>
              <a:xfrm>
                <a:off x="36544" y="2429975"/>
                <a:ext cx="727782" cy="153554"/>
              </a:xfrm>
              <a:prstGeom prst="borderCallout2">
                <a:avLst>
                  <a:gd name="adj1" fmla="val 18750"/>
                  <a:gd name="adj2" fmla="val 107886"/>
                  <a:gd name="adj3" fmla="val 18750"/>
                  <a:gd name="adj4" fmla="val 118398"/>
                  <a:gd name="adj5" fmla="val -142879"/>
                  <a:gd name="adj6" fmla="val 167864"/>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000" dirty="0"/>
                  <a:t>Return Sleeve</a:t>
                </a:r>
              </a:p>
            </p:txBody>
          </p:sp>
          <p:sp>
            <p:nvSpPr>
              <p:cNvPr id="14" name="Line Callout 2 13"/>
              <p:cNvSpPr/>
              <p:nvPr/>
            </p:nvSpPr>
            <p:spPr>
              <a:xfrm>
                <a:off x="244507" y="1452045"/>
                <a:ext cx="635297" cy="204464"/>
              </a:xfrm>
              <a:prstGeom prst="borderCallout2">
                <a:avLst>
                  <a:gd name="adj1" fmla="val 15441"/>
                  <a:gd name="adj2" fmla="val 102665"/>
                  <a:gd name="adj3" fmla="val 15441"/>
                  <a:gd name="adj4" fmla="val 109381"/>
                  <a:gd name="adj5" fmla="val 127942"/>
                  <a:gd name="adj6" fmla="val 157952"/>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Syringe</a:t>
                </a:r>
              </a:p>
            </p:txBody>
          </p:sp>
          <p:sp>
            <p:nvSpPr>
              <p:cNvPr id="15" name="Line Callout 2 14"/>
              <p:cNvSpPr/>
              <p:nvPr/>
            </p:nvSpPr>
            <p:spPr>
              <a:xfrm>
                <a:off x="1809780" y="3620151"/>
                <a:ext cx="727782" cy="153554"/>
              </a:xfrm>
              <a:prstGeom prst="borderCallout2">
                <a:avLst>
                  <a:gd name="adj1" fmla="val 18750"/>
                  <a:gd name="adj2" fmla="val -8333"/>
                  <a:gd name="adj3" fmla="val 18750"/>
                  <a:gd name="adj4" fmla="val -16667"/>
                  <a:gd name="adj5" fmla="val 207024"/>
                  <a:gd name="adj6" fmla="val -61130"/>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000" dirty="0"/>
                  <a:t>Button Spring</a:t>
                </a:r>
              </a:p>
            </p:txBody>
          </p:sp>
          <p:sp>
            <p:nvSpPr>
              <p:cNvPr id="16" name="Line Callout 2 15"/>
              <p:cNvSpPr/>
              <p:nvPr/>
            </p:nvSpPr>
            <p:spPr>
              <a:xfrm>
                <a:off x="1672588" y="3022124"/>
                <a:ext cx="571632" cy="153554"/>
              </a:xfrm>
              <a:prstGeom prst="borderCallout2">
                <a:avLst>
                  <a:gd name="adj1" fmla="val 18750"/>
                  <a:gd name="adj2" fmla="val -8333"/>
                  <a:gd name="adj3" fmla="val 18750"/>
                  <a:gd name="adj4" fmla="val -16667"/>
                  <a:gd name="adj5" fmla="val 318627"/>
                  <a:gd name="adj6" fmla="val -58389"/>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Driver</a:t>
                </a:r>
              </a:p>
            </p:txBody>
          </p:sp>
          <p:sp>
            <p:nvSpPr>
              <p:cNvPr id="17" name="Line Callout 2 16"/>
              <p:cNvSpPr/>
              <p:nvPr/>
            </p:nvSpPr>
            <p:spPr>
              <a:xfrm>
                <a:off x="244507" y="4173464"/>
                <a:ext cx="631585" cy="169658"/>
              </a:xfrm>
              <a:prstGeom prst="borderCallout2">
                <a:avLst>
                  <a:gd name="adj1" fmla="val 16269"/>
                  <a:gd name="adj2" fmla="val 103652"/>
                  <a:gd name="adj3" fmla="val 13788"/>
                  <a:gd name="adj4" fmla="val 112706"/>
                  <a:gd name="adj5" fmla="val -187541"/>
                  <a:gd name="adj6" fmla="val 144480"/>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Release</a:t>
                </a:r>
              </a:p>
            </p:txBody>
          </p:sp>
          <p:sp>
            <p:nvSpPr>
              <p:cNvPr id="18" name="Line Callout 2 17"/>
              <p:cNvSpPr/>
              <p:nvPr/>
            </p:nvSpPr>
            <p:spPr>
              <a:xfrm>
                <a:off x="1869616" y="4343123"/>
                <a:ext cx="547766" cy="153554"/>
              </a:xfrm>
              <a:prstGeom prst="borderCallout2">
                <a:avLst>
                  <a:gd name="adj1" fmla="val 18750"/>
                  <a:gd name="adj2" fmla="val -8333"/>
                  <a:gd name="adj3" fmla="val 18750"/>
                  <a:gd name="adj4" fmla="val -16667"/>
                  <a:gd name="adj5" fmla="val 179678"/>
                  <a:gd name="adj6" fmla="val -86443"/>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Button</a:t>
                </a:r>
              </a:p>
            </p:txBody>
          </p:sp>
        </p:grpSp>
        <p:sp>
          <p:nvSpPr>
            <p:cNvPr id="27" name="Line Callout 2 10"/>
            <p:cNvSpPr/>
            <p:nvPr/>
          </p:nvSpPr>
          <p:spPr>
            <a:xfrm>
              <a:off x="1954787" y="1890200"/>
              <a:ext cx="727782" cy="168407"/>
            </a:xfrm>
            <a:prstGeom prst="borderCallout2">
              <a:avLst>
                <a:gd name="adj1" fmla="val 18750"/>
                <a:gd name="adj2" fmla="val -8333"/>
                <a:gd name="adj3" fmla="val 18750"/>
                <a:gd name="adj4" fmla="val -16667"/>
                <a:gd name="adj5" fmla="val 137043"/>
                <a:gd name="adj6" fmla="val -46875"/>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000" dirty="0"/>
                <a:t>Return Spring</a:t>
              </a:r>
            </a:p>
          </p:txBody>
        </p:sp>
      </p:grpSp>
      <p:sp>
        <p:nvSpPr>
          <p:cNvPr id="20" name="Footer Placeholder 103"/>
          <p:cNvSpPr>
            <a:spLocks noGrp="1"/>
          </p:cNvSpPr>
          <p:nvPr>
            <p:ph type="ftr" sz="quarter" idx="14"/>
          </p:nvPr>
        </p:nvSpPr>
        <p:spPr>
          <a:xfrm>
            <a:off x="390528" y="4767265"/>
            <a:ext cx="553370" cy="273844"/>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4D4D4D"/>
                </a:solidFill>
                <a:effectLst/>
                <a:uLnTx/>
                <a:uFillTx/>
                <a:latin typeface="Calibri"/>
                <a:ea typeface="+mn-ea"/>
                <a:cs typeface="+mn-cs"/>
              </a:rPr>
              <a:t>External</a:t>
            </a:r>
          </a:p>
        </p:txBody>
      </p:sp>
    </p:spTree>
    <p:extLst>
      <p:ext uri="{BB962C8B-B14F-4D97-AF65-F5344CB8AC3E}">
        <p14:creationId xmlns:p14="http://schemas.microsoft.com/office/powerpoint/2010/main" val="4215270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5"/>
          </p:nvPr>
        </p:nvSpPr>
        <p:spPr/>
        <p:txBody>
          <a:bodyPr/>
          <a:lstStyle/>
          <a:p>
            <a:fld id="{CBC18623-D5EF-43D5-AE73-F0DD34C132F1}" type="slidenum">
              <a:rPr lang="de-DE" smtClean="0">
                <a:solidFill>
                  <a:prstClr val="black"/>
                </a:solidFill>
              </a:rPr>
              <a:pPr/>
              <a:t>9</a:t>
            </a:fld>
            <a:endParaRPr lang="de-DE" dirty="0">
              <a:solidFill>
                <a:prstClr val="black"/>
              </a:solidFill>
            </a:endParaRPr>
          </a:p>
        </p:txBody>
      </p:sp>
      <p:grpSp>
        <p:nvGrpSpPr>
          <p:cNvPr id="19" name="Gruppieren 18"/>
          <p:cNvGrpSpPr/>
          <p:nvPr/>
        </p:nvGrpSpPr>
        <p:grpSpPr>
          <a:xfrm>
            <a:off x="241617" y="844950"/>
            <a:ext cx="2501018" cy="3825338"/>
            <a:chOff x="241617" y="844950"/>
            <a:chExt cx="2501018" cy="3825338"/>
          </a:xfrm>
        </p:grpSpPr>
        <p:grpSp>
          <p:nvGrpSpPr>
            <p:cNvPr id="3" name="Gruppieren 2"/>
            <p:cNvGrpSpPr/>
            <p:nvPr/>
          </p:nvGrpSpPr>
          <p:grpSpPr>
            <a:xfrm>
              <a:off x="241617" y="844950"/>
              <a:ext cx="2501018" cy="3825338"/>
              <a:chOff x="241617" y="844950"/>
              <a:chExt cx="2501018" cy="3825338"/>
            </a:xfrm>
          </p:grpSpPr>
          <p:grpSp>
            <p:nvGrpSpPr>
              <p:cNvPr id="24" name="Gruppieren 23"/>
              <p:cNvGrpSpPr/>
              <p:nvPr/>
            </p:nvGrpSpPr>
            <p:grpSpPr>
              <a:xfrm>
                <a:off x="241617" y="844950"/>
                <a:ext cx="2501018" cy="3825338"/>
                <a:chOff x="36544" y="868445"/>
                <a:chExt cx="2501018" cy="3825338"/>
              </a:xfrm>
            </p:grpSpPr>
            <p:pic>
              <p:nvPicPr>
                <p:cNvPr id="24578"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rot="5400000">
                  <a:off x="-666144" y="2538589"/>
                  <a:ext cx="3825338" cy="48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Line Callout 2 3"/>
                <p:cNvSpPr/>
                <p:nvPr/>
              </p:nvSpPr>
              <p:spPr>
                <a:xfrm>
                  <a:off x="1743953" y="937893"/>
                  <a:ext cx="585052" cy="153554"/>
                </a:xfrm>
                <a:prstGeom prst="borderCallout2">
                  <a:avLst>
                    <a:gd name="adj1" fmla="val 18750"/>
                    <a:gd name="adj2" fmla="val -8333"/>
                    <a:gd name="adj3" fmla="val 18750"/>
                    <a:gd name="adj4" fmla="val -16667"/>
                    <a:gd name="adj5" fmla="val 183845"/>
                    <a:gd name="adj6" fmla="val -52273"/>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Shroud</a:t>
                  </a:r>
                </a:p>
              </p:txBody>
            </p:sp>
            <p:sp>
              <p:nvSpPr>
                <p:cNvPr id="8" name="Line Callout 2 7"/>
                <p:cNvSpPr/>
                <p:nvPr/>
              </p:nvSpPr>
              <p:spPr>
                <a:xfrm>
                  <a:off x="1762675" y="1274927"/>
                  <a:ext cx="585052" cy="153554"/>
                </a:xfrm>
                <a:prstGeom prst="borderCallout2">
                  <a:avLst>
                    <a:gd name="adj1" fmla="val 18750"/>
                    <a:gd name="adj2" fmla="val -8333"/>
                    <a:gd name="adj3" fmla="val 18750"/>
                    <a:gd name="adj4" fmla="val -16667"/>
                    <a:gd name="adj5" fmla="val 273746"/>
                    <a:gd name="adj6" fmla="val -53057"/>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Case</a:t>
                  </a:r>
                </a:p>
              </p:txBody>
            </p:sp>
            <p:sp>
              <p:nvSpPr>
                <p:cNvPr id="12" name="Line Callout 2 11"/>
                <p:cNvSpPr/>
                <p:nvPr/>
              </p:nvSpPr>
              <p:spPr>
                <a:xfrm>
                  <a:off x="77533" y="3086144"/>
                  <a:ext cx="810071" cy="153554"/>
                </a:xfrm>
                <a:prstGeom prst="borderCallout2">
                  <a:avLst>
                    <a:gd name="adj1" fmla="val 38599"/>
                    <a:gd name="adj2" fmla="val 100783"/>
                    <a:gd name="adj3" fmla="val 43561"/>
                    <a:gd name="adj4" fmla="val 110321"/>
                    <a:gd name="adj5" fmla="val 272579"/>
                    <a:gd name="adj6" fmla="val 125214"/>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Main Spring</a:t>
                  </a:r>
                </a:p>
              </p:txBody>
            </p:sp>
            <p:sp>
              <p:nvSpPr>
                <p:cNvPr id="13" name="Line Callout 2 12"/>
                <p:cNvSpPr/>
                <p:nvPr/>
              </p:nvSpPr>
              <p:spPr>
                <a:xfrm>
                  <a:off x="36544" y="2429975"/>
                  <a:ext cx="727782" cy="153554"/>
                </a:xfrm>
                <a:prstGeom prst="borderCallout2">
                  <a:avLst>
                    <a:gd name="adj1" fmla="val 18750"/>
                    <a:gd name="adj2" fmla="val 107886"/>
                    <a:gd name="adj3" fmla="val 18750"/>
                    <a:gd name="adj4" fmla="val 118398"/>
                    <a:gd name="adj5" fmla="val -142879"/>
                    <a:gd name="adj6" fmla="val 167864"/>
                  </a:avLst>
                </a:prstGeom>
                <a:solidFill>
                  <a:schemeClr val="tx2"/>
                </a:solidFill>
                <a:ln w="12700">
                  <a:solidFill>
                    <a:schemeClr val="tx2"/>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000" dirty="0"/>
                    <a:t>Return Sleeve</a:t>
                  </a:r>
                </a:p>
              </p:txBody>
            </p:sp>
            <p:sp>
              <p:nvSpPr>
                <p:cNvPr id="14" name="Line Callout 2 13"/>
                <p:cNvSpPr/>
                <p:nvPr/>
              </p:nvSpPr>
              <p:spPr>
                <a:xfrm>
                  <a:off x="244507" y="1452045"/>
                  <a:ext cx="635297" cy="204464"/>
                </a:xfrm>
                <a:prstGeom prst="borderCallout2">
                  <a:avLst>
                    <a:gd name="adj1" fmla="val 15441"/>
                    <a:gd name="adj2" fmla="val 102665"/>
                    <a:gd name="adj3" fmla="val 15441"/>
                    <a:gd name="adj4" fmla="val 109381"/>
                    <a:gd name="adj5" fmla="val 118180"/>
                    <a:gd name="adj6" fmla="val 156010"/>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Syringe</a:t>
                  </a:r>
                </a:p>
              </p:txBody>
            </p:sp>
            <p:sp>
              <p:nvSpPr>
                <p:cNvPr id="15" name="Line Callout 2 14"/>
                <p:cNvSpPr/>
                <p:nvPr/>
              </p:nvSpPr>
              <p:spPr>
                <a:xfrm>
                  <a:off x="1809780" y="3620151"/>
                  <a:ext cx="727782" cy="153554"/>
                </a:xfrm>
                <a:prstGeom prst="borderCallout2">
                  <a:avLst>
                    <a:gd name="adj1" fmla="val 18750"/>
                    <a:gd name="adj2" fmla="val -8333"/>
                    <a:gd name="adj3" fmla="val 18750"/>
                    <a:gd name="adj4" fmla="val -16667"/>
                    <a:gd name="adj5" fmla="val 207024"/>
                    <a:gd name="adj6" fmla="val -61130"/>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000" dirty="0"/>
                    <a:t>Button Spring</a:t>
                  </a:r>
                </a:p>
              </p:txBody>
            </p:sp>
            <p:sp>
              <p:nvSpPr>
                <p:cNvPr id="16" name="Line Callout 2 15"/>
                <p:cNvSpPr/>
                <p:nvPr/>
              </p:nvSpPr>
              <p:spPr>
                <a:xfrm>
                  <a:off x="1672588" y="3022124"/>
                  <a:ext cx="571632" cy="153554"/>
                </a:xfrm>
                <a:prstGeom prst="borderCallout2">
                  <a:avLst>
                    <a:gd name="adj1" fmla="val 18750"/>
                    <a:gd name="adj2" fmla="val -8333"/>
                    <a:gd name="adj3" fmla="val 18750"/>
                    <a:gd name="adj4" fmla="val -16667"/>
                    <a:gd name="adj5" fmla="val 318627"/>
                    <a:gd name="adj6" fmla="val -58389"/>
                  </a:avLst>
                </a:prstGeom>
                <a:solidFill>
                  <a:schemeClr val="tx2"/>
                </a:solid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Driver</a:t>
                  </a:r>
                </a:p>
              </p:txBody>
            </p:sp>
            <p:sp>
              <p:nvSpPr>
                <p:cNvPr id="18" name="Line Callout 2 17"/>
                <p:cNvSpPr/>
                <p:nvPr/>
              </p:nvSpPr>
              <p:spPr>
                <a:xfrm>
                  <a:off x="1869616" y="4343123"/>
                  <a:ext cx="547766" cy="153554"/>
                </a:xfrm>
                <a:prstGeom prst="borderCallout2">
                  <a:avLst>
                    <a:gd name="adj1" fmla="val 18750"/>
                    <a:gd name="adj2" fmla="val -8333"/>
                    <a:gd name="adj3" fmla="val 18750"/>
                    <a:gd name="adj4" fmla="val -16667"/>
                    <a:gd name="adj5" fmla="val 179678"/>
                    <a:gd name="adj6" fmla="val -86443"/>
                  </a:avLst>
                </a:prstGeom>
                <a:solidFill>
                  <a:schemeClr val="tx2"/>
                </a:solid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Button</a:t>
                  </a:r>
                </a:p>
              </p:txBody>
            </p:sp>
          </p:grpSp>
          <p:sp>
            <p:nvSpPr>
              <p:cNvPr id="27" name="Line Callout 2 10"/>
              <p:cNvSpPr/>
              <p:nvPr/>
            </p:nvSpPr>
            <p:spPr>
              <a:xfrm>
                <a:off x="1954787" y="1890200"/>
                <a:ext cx="727782" cy="168407"/>
              </a:xfrm>
              <a:prstGeom prst="borderCallout2">
                <a:avLst>
                  <a:gd name="adj1" fmla="val 18750"/>
                  <a:gd name="adj2" fmla="val -8333"/>
                  <a:gd name="adj3" fmla="val 18750"/>
                  <a:gd name="adj4" fmla="val -16667"/>
                  <a:gd name="adj5" fmla="val 137043"/>
                  <a:gd name="adj6" fmla="val -46875"/>
                </a:avLst>
              </a:prstGeom>
              <a:solidFill>
                <a:schemeClr val="accent1"/>
              </a:solidFill>
              <a:ln w="12700"/>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000" dirty="0"/>
                  <a:t>Return Spring</a:t>
                </a:r>
              </a:p>
            </p:txBody>
          </p:sp>
        </p:grpSp>
        <p:sp>
          <p:nvSpPr>
            <p:cNvPr id="29" name="Line Callout 2 16"/>
            <p:cNvSpPr/>
            <p:nvPr/>
          </p:nvSpPr>
          <p:spPr>
            <a:xfrm>
              <a:off x="449580" y="4149969"/>
              <a:ext cx="631585" cy="169658"/>
            </a:xfrm>
            <a:prstGeom prst="borderCallout2">
              <a:avLst>
                <a:gd name="adj1" fmla="val 16269"/>
                <a:gd name="adj2" fmla="val 103652"/>
                <a:gd name="adj3" fmla="val 13788"/>
                <a:gd name="adj4" fmla="val 112706"/>
                <a:gd name="adj5" fmla="val -187541"/>
                <a:gd name="adj6" fmla="val 144480"/>
              </a:avLst>
            </a:prstGeom>
            <a:solidFill>
              <a:schemeClr val="tx2"/>
            </a:solidFill>
            <a:ln w="127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t>Release</a:t>
              </a:r>
            </a:p>
          </p:txBody>
        </p:sp>
      </p:grpSp>
      <p:sp>
        <p:nvSpPr>
          <p:cNvPr id="21" name="Title 8"/>
          <p:cNvSpPr>
            <a:spLocks noGrp="1"/>
          </p:cNvSpPr>
          <p:nvPr>
            <p:ph type="title"/>
          </p:nvPr>
        </p:nvSpPr>
        <p:spPr>
          <a:xfrm>
            <a:off x="381000" y="57150"/>
            <a:ext cx="6553200" cy="685800"/>
          </a:xfrm>
        </p:spPr>
        <p:txBody>
          <a:bodyPr/>
          <a:lstStyle/>
          <a:p>
            <a:r>
              <a:rPr lang="en-GB" dirty="0"/>
              <a:t>The Importance of Tribology</a:t>
            </a:r>
            <a:br>
              <a:rPr lang="en-GB" dirty="0"/>
            </a:br>
            <a:r>
              <a:rPr lang="en-GB" sz="1800" dirty="0"/>
              <a:t>Material Selection for an Autoinjector</a:t>
            </a:r>
            <a:endParaRPr lang="en-GB" dirty="0"/>
          </a:p>
        </p:txBody>
      </p:sp>
      <p:graphicFrame>
        <p:nvGraphicFramePr>
          <p:cNvPr id="20" name="Table 25"/>
          <p:cNvGraphicFramePr>
            <a:graphicFrameLocks noGrp="1"/>
          </p:cNvGraphicFramePr>
          <p:nvPr>
            <p:extLst>
              <p:ext uri="{D42A27DB-BD31-4B8C-83A1-F6EECF244321}">
                <p14:modId xmlns:p14="http://schemas.microsoft.com/office/powerpoint/2010/main" val="268895380"/>
              </p:ext>
            </p:extLst>
          </p:nvPr>
        </p:nvGraphicFramePr>
        <p:xfrm>
          <a:off x="2890542" y="844947"/>
          <a:ext cx="5874143" cy="3826792"/>
        </p:xfrm>
        <a:graphic>
          <a:graphicData uri="http://schemas.openxmlformats.org/drawingml/2006/table">
            <a:tbl>
              <a:tblPr firstRow="1" firstCol="1">
                <a:tableStyleId>{6E25E649-3F16-4E02-A733-19D2CDBF48F0}</a:tableStyleId>
              </a:tblPr>
              <a:tblGrid>
                <a:gridCol w="935574">
                  <a:extLst>
                    <a:ext uri="{9D8B030D-6E8A-4147-A177-3AD203B41FA5}">
                      <a16:colId xmlns:a16="http://schemas.microsoft.com/office/drawing/2014/main" val="20000"/>
                    </a:ext>
                  </a:extLst>
                </a:gridCol>
                <a:gridCol w="1514969">
                  <a:extLst>
                    <a:ext uri="{9D8B030D-6E8A-4147-A177-3AD203B41FA5}">
                      <a16:colId xmlns:a16="http://schemas.microsoft.com/office/drawing/2014/main" val="2058145805"/>
                    </a:ext>
                  </a:extLst>
                </a:gridCol>
                <a:gridCol w="1141200">
                  <a:extLst>
                    <a:ext uri="{9D8B030D-6E8A-4147-A177-3AD203B41FA5}">
                      <a16:colId xmlns:a16="http://schemas.microsoft.com/office/drawing/2014/main" val="20001"/>
                    </a:ext>
                  </a:extLst>
                </a:gridCol>
                <a:gridCol w="1141200">
                  <a:extLst>
                    <a:ext uri="{9D8B030D-6E8A-4147-A177-3AD203B41FA5}">
                      <a16:colId xmlns:a16="http://schemas.microsoft.com/office/drawing/2014/main" val="20002"/>
                    </a:ext>
                  </a:extLst>
                </a:gridCol>
                <a:gridCol w="1141200">
                  <a:extLst>
                    <a:ext uri="{9D8B030D-6E8A-4147-A177-3AD203B41FA5}">
                      <a16:colId xmlns:a16="http://schemas.microsoft.com/office/drawing/2014/main" val="20003"/>
                    </a:ext>
                  </a:extLst>
                </a:gridCol>
              </a:tblGrid>
              <a:tr h="559495">
                <a:tc>
                  <a:txBody>
                    <a:bodyPr/>
                    <a:lstStyle/>
                    <a:p>
                      <a:pPr marR="0" indent="0" algn="ctr" rtl="0">
                        <a:lnSpc>
                          <a:spcPct val="119000"/>
                        </a:lnSpc>
                        <a:spcBef>
                          <a:spcPts val="0"/>
                        </a:spcBef>
                        <a:spcAft>
                          <a:spcPts val="600"/>
                        </a:spcAft>
                      </a:pPr>
                      <a:endParaRPr lang="en-GB" sz="1300" b="1" u="none" kern="1400" dirty="0">
                        <a:solidFill>
                          <a:srgbClr val="000000"/>
                        </a:solidFill>
                        <a:effectLst/>
                        <a:latin typeface="CelMyriad"/>
                      </a:endParaRPr>
                    </a:p>
                  </a:txBody>
                  <a:tcPr marL="25250" marR="25250" marT="25250" marB="25250" anchor="ctr">
                    <a:lnL w="28575" cap="flat" cmpd="sng" algn="ctr">
                      <a:solidFill>
                        <a:schemeClr val="tx1"/>
                      </a:solidFill>
                      <a:prstDash val="solid"/>
                      <a:round/>
                      <a:headEnd type="none" w="med" len="med"/>
                      <a:tailEnd type="none" w="med" len="med"/>
                    </a:lnL>
                    <a:lnB w="12700" cap="flat" cmpd="sng" algn="ctr">
                      <a:no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600"/>
                        </a:spcAft>
                      </a:pPr>
                      <a:endParaRPr lang="en-GB" sz="1300" b="1" u="none" kern="1400" dirty="0">
                        <a:solidFill>
                          <a:srgbClr val="000000"/>
                        </a:solidFill>
                        <a:effectLst/>
                        <a:latin typeface="CelMyriad"/>
                      </a:endParaRPr>
                    </a:p>
                  </a:txBody>
                  <a:tcPr marL="25250" marR="25250" marT="25250" marB="25250" anchor="ctr">
                    <a:lnB w="285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r>
                        <a:rPr lang="en-GB" sz="1300" b="1" kern="1400" dirty="0">
                          <a:solidFill>
                            <a:schemeClr val="lt1"/>
                          </a:solidFill>
                          <a:effectLst/>
                          <a:latin typeface="+mn-lt"/>
                          <a:ea typeface="+mn-ea"/>
                          <a:cs typeface="+mn-cs"/>
                        </a:rPr>
                        <a:t>Lowest Performance</a:t>
                      </a:r>
                    </a:p>
                  </a:txBody>
                  <a:tcPr marL="25250" marR="25250" marT="25250" marB="25250" anchor="ctr">
                    <a:lnB w="28575" cap="flat" cmpd="sng" algn="ctr">
                      <a:solidFill>
                        <a:schemeClr val="tx1"/>
                      </a:solidFill>
                      <a:prstDash val="solid"/>
                      <a:round/>
                      <a:headEnd type="none" w="med" len="med"/>
                      <a:tailEnd type="none" w="med" len="med"/>
                    </a:lnB>
                    <a:solidFill>
                      <a:schemeClr val="tx2"/>
                    </a:solidFill>
                  </a:tcPr>
                </a:tc>
                <a:tc>
                  <a:txBody>
                    <a:bodyPr/>
                    <a:lstStyle/>
                    <a:p>
                      <a:pPr marR="0" indent="0" algn="ctr" rtl="0">
                        <a:lnSpc>
                          <a:spcPct val="119000"/>
                        </a:lnSpc>
                        <a:spcBef>
                          <a:spcPts val="0"/>
                        </a:spcBef>
                        <a:spcAft>
                          <a:spcPts val="0"/>
                        </a:spcAft>
                      </a:pPr>
                      <a:endParaRPr lang="en-GB" sz="1300" b="1" kern="1400" dirty="0">
                        <a:solidFill>
                          <a:schemeClr val="lt1"/>
                        </a:solidFill>
                        <a:effectLst/>
                        <a:latin typeface="+mn-lt"/>
                        <a:ea typeface="+mn-ea"/>
                        <a:cs typeface="+mn-cs"/>
                      </a:endParaRPr>
                    </a:p>
                  </a:txBody>
                  <a:tcPr marL="25250" marR="25250" marT="25250" marB="25250" anchor="ctr">
                    <a:lnB w="28575" cap="flat" cmpd="sng" algn="ctr">
                      <a:solidFill>
                        <a:schemeClr val="tx1"/>
                      </a:solidFill>
                      <a:prstDash val="solid"/>
                      <a:round/>
                      <a:headEnd type="none" w="med" len="med"/>
                      <a:tailEnd type="none" w="med" len="med"/>
                    </a:lnB>
                    <a:solidFill>
                      <a:schemeClr val="tx2"/>
                    </a:solidFill>
                  </a:tcPr>
                </a:tc>
                <a:tc>
                  <a:txBody>
                    <a:bodyPr/>
                    <a:lstStyle/>
                    <a:p>
                      <a:pPr algn="ctr"/>
                      <a:r>
                        <a:rPr lang="en-US" sz="1300" b="1" kern="1400" dirty="0">
                          <a:solidFill>
                            <a:schemeClr val="lt1"/>
                          </a:solidFill>
                          <a:effectLst/>
                          <a:latin typeface="+mn-lt"/>
                          <a:ea typeface="+mn-ea"/>
                          <a:cs typeface="+mn-cs"/>
                        </a:rPr>
                        <a:t>Highest</a:t>
                      </a:r>
                      <a:br>
                        <a:rPr lang="en-US" sz="1300" b="1" kern="1400" dirty="0">
                          <a:solidFill>
                            <a:schemeClr val="lt1"/>
                          </a:solidFill>
                          <a:effectLst/>
                          <a:latin typeface="+mn-lt"/>
                          <a:ea typeface="+mn-ea"/>
                          <a:cs typeface="+mn-cs"/>
                        </a:rPr>
                      </a:br>
                      <a:r>
                        <a:rPr lang="en-US" sz="1300" b="1" kern="1400" dirty="0">
                          <a:solidFill>
                            <a:schemeClr val="lt1"/>
                          </a:solidFill>
                          <a:effectLst/>
                          <a:latin typeface="+mn-lt"/>
                          <a:ea typeface="+mn-ea"/>
                          <a:cs typeface="+mn-cs"/>
                        </a:rPr>
                        <a:t>Performance </a:t>
                      </a:r>
                    </a:p>
                  </a:txBody>
                  <a:tcPr marL="25250" marR="25250" marT="25250" marB="25250" anchor="ctr">
                    <a:lnB w="28575"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549441">
                <a:tc>
                  <a:txBody>
                    <a:bodyPr/>
                    <a:lstStyle/>
                    <a:p>
                      <a:pPr marL="0" marR="0" indent="0" algn="l" defTabSz="914400" rtl="0" eaLnBrk="1" latinLnBrk="0" hangingPunct="1">
                        <a:lnSpc>
                          <a:spcPct val="119000"/>
                        </a:lnSpc>
                        <a:spcBef>
                          <a:spcPts val="0"/>
                        </a:spcBef>
                        <a:spcAft>
                          <a:spcPts val="0"/>
                        </a:spcAft>
                      </a:pPr>
                      <a:r>
                        <a:rPr lang="en-GB" sz="1300" b="1" u="sng" kern="1400" baseline="0" dirty="0">
                          <a:solidFill>
                            <a:schemeClr val="lt1"/>
                          </a:solidFill>
                          <a:effectLst/>
                          <a:latin typeface="+mn-lt"/>
                          <a:ea typeface="+mn-ea"/>
                          <a:cs typeface="+mn-cs"/>
                        </a:rPr>
                        <a:t>Component</a:t>
                      </a:r>
                    </a:p>
                  </a:txBody>
                  <a:tcPr marL="25250" marR="25250" marT="25250" marB="2525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solidFill>
                      <a:schemeClr val="tx2"/>
                    </a:solidFill>
                  </a:tcPr>
                </a:tc>
                <a:tc>
                  <a:txBody>
                    <a:bodyPr/>
                    <a:lstStyle/>
                    <a:p>
                      <a:pPr marL="0" marR="0" indent="0" algn="l" defTabSz="914400" rtl="0" eaLnBrk="1" latinLnBrk="0" hangingPunct="1">
                        <a:lnSpc>
                          <a:spcPct val="119000"/>
                        </a:lnSpc>
                        <a:spcBef>
                          <a:spcPts val="0"/>
                        </a:spcBef>
                        <a:spcAft>
                          <a:spcPts val="0"/>
                        </a:spcAft>
                      </a:pPr>
                      <a:r>
                        <a:rPr lang="en-GB" sz="1300" b="1" u="sng" kern="1400" baseline="0" dirty="0">
                          <a:solidFill>
                            <a:schemeClr val="lt1"/>
                          </a:solidFill>
                          <a:effectLst/>
                          <a:latin typeface="+mn-lt"/>
                          <a:ea typeface="+mn-ea"/>
                          <a:cs typeface="+mn-cs"/>
                        </a:rPr>
                        <a:t>Key Requirements</a:t>
                      </a:r>
                    </a:p>
                  </a:txBody>
                  <a:tcPr marL="25250" marR="25250" marT="25250" marB="2525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bg1">
                        <a:lumMod val="50000"/>
                      </a:schemeClr>
                    </a:solidFill>
                  </a:tcPr>
                </a:tc>
                <a:tc>
                  <a:txBody>
                    <a:bodyPr/>
                    <a:lstStyle/>
                    <a:p>
                      <a:pPr marR="0" indent="0" algn="ctr" rtl="0">
                        <a:lnSpc>
                          <a:spcPct val="119000"/>
                        </a:lnSpc>
                        <a:spcBef>
                          <a:spcPts val="0"/>
                        </a:spcBef>
                        <a:spcAft>
                          <a:spcPts val="600"/>
                        </a:spcAft>
                      </a:pPr>
                      <a:r>
                        <a:rPr lang="en-GB" sz="1200" b="1" kern="1400" dirty="0">
                          <a:solidFill>
                            <a:schemeClr val="bg1"/>
                          </a:solidFill>
                          <a:effectLst/>
                          <a:latin typeface="CelMyriad"/>
                        </a:rPr>
                        <a:t>Option 1</a:t>
                      </a:r>
                    </a:p>
                  </a:txBody>
                  <a:tcPr marL="25250" marR="25250" marT="25250" marB="25250" anchor="ctr">
                    <a:lnT w="28575" cap="flat" cmpd="sng" algn="ctr">
                      <a:solidFill>
                        <a:schemeClr val="tx1"/>
                      </a:solidFill>
                      <a:prstDash val="solid"/>
                      <a:round/>
                      <a:headEnd type="none" w="med" len="med"/>
                      <a:tailEnd type="none" w="med" len="med"/>
                    </a:lnT>
                    <a:solidFill>
                      <a:schemeClr val="bg1">
                        <a:lumMod val="50000"/>
                      </a:schemeClr>
                    </a:solidFill>
                  </a:tcPr>
                </a:tc>
                <a:tc>
                  <a:txBody>
                    <a:bodyPr/>
                    <a:lstStyle/>
                    <a:p>
                      <a:pPr marL="0" marR="0" lvl="0" indent="0" algn="ctr" defTabSz="914400" rtl="0" eaLnBrk="1" fontAlgn="auto" latinLnBrk="0" hangingPunct="1">
                        <a:lnSpc>
                          <a:spcPct val="119000"/>
                        </a:lnSpc>
                        <a:spcBef>
                          <a:spcPts val="0"/>
                        </a:spcBef>
                        <a:spcAft>
                          <a:spcPts val="0"/>
                        </a:spcAft>
                        <a:buClrTx/>
                        <a:buSzTx/>
                        <a:buFontTx/>
                        <a:buNone/>
                        <a:tabLst/>
                        <a:defRPr/>
                      </a:pPr>
                      <a:r>
                        <a:rPr lang="en-GB" sz="1200" b="1" kern="1400" dirty="0">
                          <a:solidFill>
                            <a:schemeClr val="bg1"/>
                          </a:solidFill>
                          <a:effectLst/>
                          <a:latin typeface="CelMyriad"/>
                        </a:rPr>
                        <a:t>Option 2</a:t>
                      </a:r>
                    </a:p>
                  </a:txBody>
                  <a:tcPr marL="25250" marR="25250" marT="25250" marB="25250" anchor="ctr">
                    <a:lnT w="28575" cap="flat" cmpd="sng" algn="ctr">
                      <a:solidFill>
                        <a:schemeClr val="tx1"/>
                      </a:solidFill>
                      <a:prstDash val="solid"/>
                      <a:round/>
                      <a:headEnd type="none" w="med" len="med"/>
                      <a:tailEnd type="none" w="med" len="med"/>
                    </a:lnT>
                    <a:solidFill>
                      <a:schemeClr val="bg1">
                        <a:lumMod val="50000"/>
                      </a:schemeClr>
                    </a:solidFill>
                  </a:tcPr>
                </a:tc>
                <a:tc>
                  <a:txBody>
                    <a:bodyPr/>
                    <a:lstStyle/>
                    <a:p>
                      <a:pPr marL="0" marR="0" lvl="0" indent="0" algn="ctr" defTabSz="914400" rtl="0" eaLnBrk="1" fontAlgn="auto" latinLnBrk="0" hangingPunct="1">
                        <a:lnSpc>
                          <a:spcPct val="119000"/>
                        </a:lnSpc>
                        <a:spcBef>
                          <a:spcPts val="0"/>
                        </a:spcBef>
                        <a:spcAft>
                          <a:spcPts val="0"/>
                        </a:spcAft>
                        <a:buClrTx/>
                        <a:buSzTx/>
                        <a:buFontTx/>
                        <a:buNone/>
                        <a:tabLst/>
                        <a:defRPr/>
                      </a:pPr>
                      <a:r>
                        <a:rPr lang="en-GB" sz="1200" b="1" kern="1400" dirty="0">
                          <a:solidFill>
                            <a:schemeClr val="bg1"/>
                          </a:solidFill>
                          <a:effectLst/>
                          <a:latin typeface="CelMyriad"/>
                        </a:rPr>
                        <a:t>Option 3</a:t>
                      </a:r>
                    </a:p>
                  </a:txBody>
                  <a:tcPr marL="25250" marR="25250" marT="25250" marB="25250" anchor="ctr">
                    <a:lnT w="28575" cap="flat" cmpd="sng" algn="ctr">
                      <a:solidFill>
                        <a:schemeClr val="tx1"/>
                      </a:solidFill>
                      <a:prstDash val="solid"/>
                      <a:round/>
                      <a:headEnd type="none" w="med" len="med"/>
                      <a:tailEnd type="none" w="med" len="med"/>
                    </a:lnT>
                    <a:solidFill>
                      <a:schemeClr val="bg1">
                        <a:lumMod val="50000"/>
                      </a:schemeClr>
                    </a:solidFill>
                  </a:tcPr>
                </a:tc>
                <a:extLst>
                  <a:ext uri="{0D108BD9-81ED-4DB2-BD59-A6C34878D82A}">
                    <a16:rowId xmlns:a16="http://schemas.microsoft.com/office/drawing/2014/main" val="10001"/>
                  </a:ext>
                </a:extLst>
              </a:tr>
              <a:tr h="683105">
                <a:tc>
                  <a:txBody>
                    <a:bodyPr/>
                    <a:lstStyle/>
                    <a:p>
                      <a:pPr marL="0" marR="0" indent="0" algn="l" defTabSz="914400" rtl="0" eaLnBrk="1" latinLnBrk="0" hangingPunct="1">
                        <a:lnSpc>
                          <a:spcPct val="119000"/>
                        </a:lnSpc>
                        <a:spcBef>
                          <a:spcPts val="0"/>
                        </a:spcBef>
                        <a:spcAft>
                          <a:spcPts val="0"/>
                        </a:spcAft>
                      </a:pPr>
                      <a:r>
                        <a:rPr lang="en-GB" sz="1300" kern="1400" dirty="0">
                          <a:effectLst/>
                        </a:rPr>
                        <a:t>Return</a:t>
                      </a:r>
                      <a:r>
                        <a:rPr lang="en-GB" sz="1300" kern="1400" baseline="0" dirty="0">
                          <a:effectLst/>
                        </a:rPr>
                        <a:t> </a:t>
                      </a:r>
                      <a:br>
                        <a:rPr lang="en-GB" sz="1300" kern="1400" baseline="0" dirty="0">
                          <a:effectLst/>
                        </a:rPr>
                      </a:br>
                      <a:r>
                        <a:rPr lang="en-GB" sz="1300" kern="1400" baseline="0" dirty="0">
                          <a:effectLst/>
                        </a:rPr>
                        <a:t>Sleeve </a:t>
                      </a:r>
                      <a:endParaRPr lang="en-GB" sz="13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solidFill>
                      <a:schemeClr val="tx2"/>
                    </a:solidFill>
                  </a:tcPr>
                </a:tc>
                <a:tc>
                  <a:txBody>
                    <a:bodyPr/>
                    <a:lstStyle/>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US" sz="1100" b="1" kern="1400" dirty="0">
                          <a:solidFill>
                            <a:schemeClr val="bg1"/>
                          </a:solidFill>
                          <a:effectLst/>
                          <a:latin typeface="+mn-lt"/>
                          <a:ea typeface="+mn-ea"/>
                          <a:cs typeface="+mn-cs"/>
                        </a:rPr>
                        <a:t>Very low friction on case &amp; spring</a:t>
                      </a:r>
                    </a:p>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US" sz="1100" b="1" kern="1400" dirty="0">
                          <a:solidFill>
                            <a:schemeClr val="bg1"/>
                          </a:solidFill>
                          <a:effectLst/>
                          <a:latin typeface="+mn-lt"/>
                          <a:ea typeface="+mn-ea"/>
                          <a:cs typeface="+mn-cs"/>
                        </a:rPr>
                        <a:t>Impact strength</a:t>
                      </a:r>
                      <a:endParaRPr lang="en-GB" sz="11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solidFill>
                      <a:schemeClr val="bg1">
                        <a:lumMod val="50000"/>
                      </a:schemeClr>
                    </a:solidFill>
                  </a:tcPr>
                </a:tc>
                <a:tc>
                  <a:txBody>
                    <a:bodyPr/>
                    <a:lstStyle/>
                    <a:p>
                      <a:pPr algn="ctr"/>
                      <a:r>
                        <a:rPr lang="en-US" sz="1000" kern="1400" dirty="0" err="1">
                          <a:solidFill>
                            <a:schemeClr val="tx1"/>
                          </a:solidFill>
                          <a:effectLst/>
                          <a:latin typeface="CelMyriad"/>
                          <a:ea typeface="+mn-ea"/>
                          <a:cs typeface="+mn-cs"/>
                        </a:rPr>
                        <a:t>Hostaform</a:t>
                      </a:r>
                      <a:r>
                        <a:rPr lang="en-GB" sz="1000" kern="1400" dirty="0">
                          <a:solidFill>
                            <a:schemeClr val="tx1"/>
                          </a:solidFill>
                          <a:effectLst/>
                          <a:latin typeface="CelMyriad"/>
                          <a:ea typeface="+mn-ea"/>
                          <a:cs typeface="+mn-cs"/>
                        </a:rPr>
                        <a:t>®</a:t>
                      </a:r>
                      <a:r>
                        <a:rPr lang="en-US" sz="1000" kern="1400" dirty="0">
                          <a:solidFill>
                            <a:schemeClr val="tx1"/>
                          </a:solidFill>
                          <a:effectLst/>
                          <a:latin typeface="CelMyriad"/>
                          <a:ea typeface="+mn-ea"/>
                          <a:cs typeface="+mn-cs"/>
                        </a:rPr>
                        <a:t> MT</a:t>
                      </a:r>
                      <a:r>
                        <a:rPr lang="en-GB" sz="1000" kern="1400" dirty="0">
                          <a:solidFill>
                            <a:schemeClr val="tx1"/>
                          </a:solidFill>
                          <a:effectLst/>
                          <a:latin typeface="CelMyriad"/>
                          <a:ea typeface="+mn-ea"/>
                          <a:cs typeface="+mn-cs"/>
                        </a:rPr>
                        <a:t>®                  </a:t>
                      </a:r>
                      <a:r>
                        <a:rPr lang="en-US" sz="1000" kern="1400" dirty="0">
                          <a:solidFill>
                            <a:schemeClr val="tx1"/>
                          </a:solidFill>
                          <a:effectLst/>
                          <a:latin typeface="CelMyriad"/>
                          <a:ea typeface="+mn-ea"/>
                          <a:cs typeface="+mn-cs"/>
                        </a:rPr>
                        <a:t>POM 8U01</a:t>
                      </a:r>
                    </a:p>
                  </a:txBody>
                  <a:tcPr marL="25250" marR="25250" marT="25250" marB="25250" anchor="ctr">
                    <a:solidFill>
                      <a:schemeClr val="bg1"/>
                    </a:solidFill>
                  </a:tcPr>
                </a:tc>
                <a:tc>
                  <a:txBody>
                    <a:bodyPr/>
                    <a:lstStyle/>
                    <a:p>
                      <a:pPr marR="0" indent="0" algn="ctr" rtl="0">
                        <a:lnSpc>
                          <a:spcPct val="119000"/>
                        </a:lnSpc>
                        <a:spcBef>
                          <a:spcPts val="0"/>
                        </a:spcBef>
                        <a:spcAft>
                          <a:spcPts val="0"/>
                        </a:spcAft>
                      </a:pPr>
                      <a:r>
                        <a:rPr lang="en-GB" sz="1000" kern="1400" dirty="0" err="1">
                          <a:solidFill>
                            <a:schemeClr val="tx1"/>
                          </a:solidFill>
                          <a:effectLst/>
                          <a:latin typeface="CelMyriad"/>
                          <a:ea typeface="+mn-ea"/>
                          <a:cs typeface="+mn-cs"/>
                        </a:rPr>
                        <a:t>Hostaform</a:t>
                      </a:r>
                      <a:r>
                        <a:rPr lang="en-GB" sz="1000" kern="1400" dirty="0">
                          <a:solidFill>
                            <a:schemeClr val="tx1"/>
                          </a:solidFill>
                          <a:effectLst/>
                          <a:latin typeface="CelMyriad"/>
                          <a:ea typeface="+mn-ea"/>
                          <a:cs typeface="+mn-cs"/>
                        </a:rPr>
                        <a:t>® MT® </a:t>
                      </a:r>
                      <a:r>
                        <a:rPr lang="en-GB" sz="1000" kern="1400" dirty="0" err="1">
                          <a:solidFill>
                            <a:schemeClr val="tx1"/>
                          </a:solidFill>
                          <a:effectLst/>
                          <a:latin typeface="CelMyriad"/>
                          <a:ea typeface="+mn-ea"/>
                          <a:cs typeface="+mn-cs"/>
                        </a:rPr>
                        <a:t>Slidex</a:t>
                      </a:r>
                      <a:r>
                        <a:rPr lang="en-GB" sz="1000" kern="1400" dirty="0">
                          <a:solidFill>
                            <a:schemeClr val="tx1"/>
                          </a:solidFill>
                          <a:effectLst/>
                          <a:latin typeface="CelMyriad"/>
                          <a:ea typeface="+mn-ea"/>
                          <a:cs typeface="+mn-cs"/>
                        </a:rPr>
                        <a:t>® POM 1203</a:t>
                      </a:r>
                    </a:p>
                  </a:txBody>
                  <a:tcPr marL="25250" marR="25250" marT="25250" marB="25250" anchor="ctr">
                    <a:solidFill>
                      <a:schemeClr val="bg1"/>
                    </a:solidFill>
                  </a:tcPr>
                </a:tc>
                <a:tc>
                  <a:txBody>
                    <a:bodyPr/>
                    <a:lstStyle/>
                    <a:p>
                      <a:pPr marR="0" indent="0" algn="ctr" rtl="0">
                        <a:lnSpc>
                          <a:spcPct val="119000"/>
                        </a:lnSpc>
                        <a:spcBef>
                          <a:spcPts val="0"/>
                        </a:spcBef>
                        <a:spcAft>
                          <a:spcPts val="0"/>
                        </a:spcAft>
                      </a:pPr>
                      <a:r>
                        <a:rPr lang="en-US" sz="1000" kern="1400" dirty="0">
                          <a:solidFill>
                            <a:schemeClr val="tx1"/>
                          </a:solidFill>
                          <a:effectLst/>
                          <a:latin typeface="CelMyriad"/>
                          <a:ea typeface="+mn-ea"/>
                          <a:cs typeface="+mn-cs"/>
                        </a:rPr>
                        <a:t>Vectra</a:t>
                      </a:r>
                      <a:r>
                        <a:rPr lang="en-GB" sz="1000" kern="1400" dirty="0">
                          <a:solidFill>
                            <a:schemeClr val="tx1"/>
                          </a:solidFill>
                          <a:effectLst/>
                          <a:latin typeface="CelMyriad"/>
                          <a:ea typeface="+mn-ea"/>
                          <a:cs typeface="+mn-cs"/>
                        </a:rPr>
                        <a:t>®</a:t>
                      </a:r>
                      <a:r>
                        <a:rPr lang="en-US" sz="1000" kern="1400" dirty="0">
                          <a:solidFill>
                            <a:schemeClr val="tx1"/>
                          </a:solidFill>
                          <a:effectLst/>
                          <a:latin typeface="CelMyriad"/>
                          <a:ea typeface="+mn-ea"/>
                          <a:cs typeface="+mn-cs"/>
                        </a:rPr>
                        <a:t> MT® LCP 1335</a:t>
                      </a:r>
                      <a:endParaRPr lang="en-GB" sz="1000" kern="1400" dirty="0">
                        <a:solidFill>
                          <a:schemeClr val="tx1"/>
                        </a:solidFill>
                        <a:effectLst/>
                        <a:latin typeface="CelMyriad"/>
                        <a:ea typeface="+mn-ea"/>
                        <a:cs typeface="+mn-cs"/>
                      </a:endParaRPr>
                    </a:p>
                  </a:txBody>
                  <a:tcPr marL="25250" marR="25250" marT="25250" marB="25250" anchor="ctr">
                    <a:solidFill>
                      <a:schemeClr val="bg1"/>
                    </a:solidFill>
                  </a:tcPr>
                </a:tc>
                <a:extLst>
                  <a:ext uri="{0D108BD9-81ED-4DB2-BD59-A6C34878D82A}">
                    <a16:rowId xmlns:a16="http://schemas.microsoft.com/office/drawing/2014/main" val="10006"/>
                  </a:ext>
                </a:extLst>
              </a:tr>
              <a:tr h="683105">
                <a:tc>
                  <a:txBody>
                    <a:bodyPr/>
                    <a:lstStyle/>
                    <a:p>
                      <a:pPr marL="0" marR="0" indent="0" algn="l" defTabSz="914400" rtl="0" eaLnBrk="1" latinLnBrk="0" hangingPunct="1">
                        <a:lnSpc>
                          <a:spcPct val="119000"/>
                        </a:lnSpc>
                        <a:spcBef>
                          <a:spcPts val="0"/>
                        </a:spcBef>
                        <a:spcAft>
                          <a:spcPts val="0"/>
                        </a:spcAft>
                      </a:pPr>
                      <a:r>
                        <a:rPr lang="en-GB" sz="1300" kern="1400" dirty="0">
                          <a:effectLst/>
                        </a:rPr>
                        <a:t>Driver</a:t>
                      </a:r>
                      <a:endParaRPr lang="en-GB" sz="13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solidFill>
                      <a:schemeClr val="tx2"/>
                    </a:solidFill>
                  </a:tcPr>
                </a:tc>
                <a:tc>
                  <a:txBody>
                    <a:bodyPr/>
                    <a:lstStyle/>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US" sz="1100" b="1" kern="1400" dirty="0">
                          <a:solidFill>
                            <a:schemeClr val="bg1"/>
                          </a:solidFill>
                          <a:effectLst/>
                          <a:latin typeface="+mn-lt"/>
                          <a:ea typeface="+mn-ea"/>
                          <a:cs typeface="+mn-cs"/>
                        </a:rPr>
                        <a:t>High strength</a:t>
                      </a:r>
                    </a:p>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US" sz="1100" b="1" kern="1400" dirty="0">
                          <a:solidFill>
                            <a:schemeClr val="bg1"/>
                          </a:solidFill>
                          <a:effectLst/>
                          <a:latin typeface="+mn-lt"/>
                          <a:ea typeface="+mn-ea"/>
                          <a:cs typeface="+mn-cs"/>
                        </a:rPr>
                        <a:t>Low friction</a:t>
                      </a:r>
                    </a:p>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US" sz="1100" b="1" kern="1400" dirty="0">
                          <a:solidFill>
                            <a:schemeClr val="bg1"/>
                          </a:solidFill>
                          <a:effectLst/>
                          <a:latin typeface="+mn-lt"/>
                          <a:ea typeface="+mn-ea"/>
                          <a:cs typeface="+mn-cs"/>
                        </a:rPr>
                        <a:t>Low stick slip &amp; noise</a:t>
                      </a:r>
                      <a:endParaRPr lang="en-GB" sz="11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solidFill>
                      <a:schemeClr val="bg1">
                        <a:lumMod val="50000"/>
                      </a:schemeClr>
                    </a:solidFill>
                  </a:tcPr>
                </a:tc>
                <a:tc>
                  <a:txBody>
                    <a:bodyPr/>
                    <a:lstStyle/>
                    <a:p>
                      <a:pPr marL="0" marR="0" lvl="0" indent="0" algn="ctr" defTabSz="914400" rtl="0" eaLnBrk="1" fontAlgn="auto" latinLnBrk="0" hangingPunct="1">
                        <a:lnSpc>
                          <a:spcPct val="119000"/>
                        </a:lnSpc>
                        <a:spcBef>
                          <a:spcPts val="0"/>
                        </a:spcBef>
                        <a:spcAft>
                          <a:spcPts val="0"/>
                        </a:spcAft>
                        <a:buClrTx/>
                        <a:buSzTx/>
                        <a:buFontTx/>
                        <a:buNone/>
                        <a:tabLst/>
                        <a:defRPr/>
                      </a:pPr>
                      <a:r>
                        <a:rPr lang="en-US" sz="1000" kern="1400" dirty="0" err="1">
                          <a:solidFill>
                            <a:schemeClr val="tx1"/>
                          </a:solidFill>
                          <a:effectLst/>
                          <a:latin typeface="CelMyriad"/>
                          <a:ea typeface="+mn-ea"/>
                          <a:cs typeface="+mn-cs"/>
                        </a:rPr>
                        <a:t>Hostaform</a:t>
                      </a:r>
                      <a:r>
                        <a:rPr lang="en-GB" sz="1000" kern="1400" dirty="0">
                          <a:solidFill>
                            <a:schemeClr val="tx1"/>
                          </a:solidFill>
                          <a:effectLst/>
                          <a:latin typeface="CelMyriad"/>
                          <a:ea typeface="+mn-ea"/>
                          <a:cs typeface="+mn-cs"/>
                        </a:rPr>
                        <a:t>®</a:t>
                      </a:r>
                      <a:r>
                        <a:rPr lang="en-US" sz="1000" kern="1400" dirty="0">
                          <a:solidFill>
                            <a:schemeClr val="tx1"/>
                          </a:solidFill>
                          <a:effectLst/>
                          <a:latin typeface="CelMyriad"/>
                          <a:ea typeface="+mn-ea"/>
                          <a:cs typeface="+mn-cs"/>
                        </a:rPr>
                        <a:t> MT</a:t>
                      </a:r>
                      <a:r>
                        <a:rPr lang="en-GB" sz="1000" kern="1400" dirty="0">
                          <a:solidFill>
                            <a:schemeClr val="tx1"/>
                          </a:solidFill>
                          <a:effectLst/>
                          <a:latin typeface="CelMyriad"/>
                          <a:ea typeface="+mn-ea"/>
                          <a:cs typeface="+mn-cs"/>
                        </a:rPr>
                        <a:t>®                     </a:t>
                      </a:r>
                      <a:r>
                        <a:rPr lang="en-US" sz="1000" kern="1400" dirty="0">
                          <a:solidFill>
                            <a:schemeClr val="tx1"/>
                          </a:solidFill>
                          <a:effectLst/>
                          <a:latin typeface="CelMyriad"/>
                          <a:ea typeface="+mn-ea"/>
                          <a:cs typeface="+mn-cs"/>
                        </a:rPr>
                        <a:t>POM 8U01</a:t>
                      </a:r>
                    </a:p>
                  </a:txBody>
                  <a:tcPr marL="25250" marR="25250" marT="25250" marB="25250" anchor="ctr">
                    <a:solidFill>
                      <a:schemeClr val="bg1">
                        <a:lumMod val="95000"/>
                      </a:schemeClr>
                    </a:solidFill>
                  </a:tcPr>
                </a:tc>
                <a:tc>
                  <a:txBody>
                    <a:bodyPr/>
                    <a:lstStyle/>
                    <a:p>
                      <a:pPr algn="ctr"/>
                      <a:r>
                        <a:rPr lang="en-US" sz="1000" kern="1400" dirty="0" err="1">
                          <a:solidFill>
                            <a:schemeClr val="tx1"/>
                          </a:solidFill>
                          <a:effectLst/>
                          <a:latin typeface="CelMyriad"/>
                          <a:ea typeface="+mn-ea"/>
                          <a:cs typeface="+mn-cs"/>
                        </a:rPr>
                        <a:t>Hostaform</a:t>
                      </a:r>
                      <a:r>
                        <a:rPr lang="en-GB" sz="1000" kern="1400" dirty="0">
                          <a:solidFill>
                            <a:schemeClr val="tx1"/>
                          </a:solidFill>
                          <a:effectLst/>
                          <a:latin typeface="CelMyriad"/>
                          <a:ea typeface="+mn-ea"/>
                          <a:cs typeface="+mn-cs"/>
                        </a:rPr>
                        <a:t>®</a:t>
                      </a:r>
                      <a:r>
                        <a:rPr lang="en-US" sz="1000" kern="1400" dirty="0">
                          <a:solidFill>
                            <a:schemeClr val="tx1"/>
                          </a:solidFill>
                          <a:effectLst/>
                          <a:latin typeface="CelMyriad"/>
                          <a:ea typeface="+mn-ea"/>
                          <a:cs typeface="+mn-cs"/>
                        </a:rPr>
                        <a:t> MT</a:t>
                      </a:r>
                      <a:r>
                        <a:rPr lang="en-GB" sz="1000" kern="1400" dirty="0">
                          <a:solidFill>
                            <a:schemeClr val="tx1"/>
                          </a:solidFill>
                          <a:effectLst/>
                          <a:latin typeface="CelMyriad"/>
                          <a:ea typeface="+mn-ea"/>
                          <a:cs typeface="+mn-cs"/>
                        </a:rPr>
                        <a:t>®</a:t>
                      </a:r>
                      <a:r>
                        <a:rPr lang="en-US" sz="1000" kern="1400" dirty="0">
                          <a:solidFill>
                            <a:schemeClr val="tx1"/>
                          </a:solidFill>
                          <a:effectLst/>
                          <a:latin typeface="CelMyriad"/>
                          <a:ea typeface="+mn-ea"/>
                          <a:cs typeface="+mn-cs"/>
                        </a:rPr>
                        <a:t>                     POM 8F01</a:t>
                      </a:r>
                    </a:p>
                  </a:txBody>
                  <a:tcPr marL="25250" marR="25250" marT="25250" marB="25250" anchor="ctr">
                    <a:solidFill>
                      <a:schemeClr val="bg1">
                        <a:lumMod val="95000"/>
                      </a:schemeClr>
                    </a:solidFill>
                  </a:tcPr>
                </a:tc>
                <a:tc>
                  <a:txBody>
                    <a:bodyPr/>
                    <a:lstStyle/>
                    <a:p>
                      <a:pPr marR="0" indent="0" algn="ctr" rtl="0">
                        <a:lnSpc>
                          <a:spcPct val="119000"/>
                        </a:lnSpc>
                        <a:spcBef>
                          <a:spcPts val="0"/>
                        </a:spcBef>
                        <a:spcAft>
                          <a:spcPts val="0"/>
                        </a:spcAft>
                      </a:pPr>
                      <a:r>
                        <a:rPr lang="en-US" sz="1000" kern="1400" dirty="0" err="1">
                          <a:solidFill>
                            <a:schemeClr val="tx1"/>
                          </a:solidFill>
                          <a:effectLst/>
                          <a:latin typeface="CelMyriad"/>
                          <a:ea typeface="+mn-ea"/>
                          <a:cs typeface="+mn-cs"/>
                        </a:rPr>
                        <a:t>Hostaform</a:t>
                      </a:r>
                      <a:r>
                        <a:rPr lang="en-GB" sz="1000" kern="1400" dirty="0">
                          <a:solidFill>
                            <a:schemeClr val="tx1"/>
                          </a:solidFill>
                          <a:effectLst/>
                          <a:latin typeface="CelMyriad"/>
                          <a:ea typeface="+mn-ea"/>
                          <a:cs typeface="+mn-cs"/>
                        </a:rPr>
                        <a:t>® MT® </a:t>
                      </a:r>
                      <a:r>
                        <a:rPr lang="en-GB" sz="1000" kern="1400" dirty="0" err="1">
                          <a:solidFill>
                            <a:schemeClr val="tx1"/>
                          </a:solidFill>
                          <a:effectLst/>
                          <a:latin typeface="CelMyriad"/>
                          <a:ea typeface="+mn-ea"/>
                          <a:cs typeface="+mn-cs"/>
                        </a:rPr>
                        <a:t>Slidex</a:t>
                      </a:r>
                      <a:r>
                        <a:rPr lang="en-GB" sz="1000" kern="1400" dirty="0">
                          <a:solidFill>
                            <a:schemeClr val="tx1"/>
                          </a:solidFill>
                          <a:effectLst/>
                          <a:latin typeface="CelMyriad"/>
                          <a:ea typeface="+mn-ea"/>
                          <a:cs typeface="+mn-cs"/>
                        </a:rPr>
                        <a:t>® POM 2404</a:t>
                      </a:r>
                    </a:p>
                  </a:txBody>
                  <a:tcPr marL="25250" marR="25250" marT="25250" marB="25250" anchor="ctr">
                    <a:solidFill>
                      <a:schemeClr val="bg1">
                        <a:lumMod val="95000"/>
                      </a:schemeClr>
                    </a:solidFill>
                  </a:tcPr>
                </a:tc>
                <a:extLst>
                  <a:ext uri="{0D108BD9-81ED-4DB2-BD59-A6C34878D82A}">
                    <a16:rowId xmlns:a16="http://schemas.microsoft.com/office/drawing/2014/main" val="10007"/>
                  </a:ext>
                </a:extLst>
              </a:tr>
              <a:tr h="878527">
                <a:tc>
                  <a:txBody>
                    <a:bodyPr/>
                    <a:lstStyle/>
                    <a:p>
                      <a:pPr marL="0" marR="0" indent="0" algn="l" defTabSz="914400" rtl="0" eaLnBrk="1" latinLnBrk="0" hangingPunct="1">
                        <a:lnSpc>
                          <a:spcPct val="119000"/>
                        </a:lnSpc>
                        <a:spcBef>
                          <a:spcPts val="0"/>
                        </a:spcBef>
                        <a:spcAft>
                          <a:spcPts val="0"/>
                        </a:spcAft>
                      </a:pPr>
                      <a:r>
                        <a:rPr lang="en-GB" sz="1300" kern="1400" dirty="0">
                          <a:effectLst/>
                        </a:rPr>
                        <a:t>Release </a:t>
                      </a:r>
                      <a:endParaRPr lang="en-GB" sz="13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solidFill>
                      <a:schemeClr val="tx2"/>
                    </a:solidFill>
                  </a:tcPr>
                </a:tc>
                <a:tc>
                  <a:txBody>
                    <a:bodyPr/>
                    <a:lstStyle/>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US" sz="1100" b="1" kern="1400" dirty="0">
                          <a:solidFill>
                            <a:schemeClr val="bg1"/>
                          </a:solidFill>
                          <a:effectLst/>
                          <a:latin typeface="+mn-lt"/>
                          <a:ea typeface="+mn-ea"/>
                          <a:cs typeface="+mn-cs"/>
                        </a:rPr>
                        <a:t>High strength</a:t>
                      </a:r>
                    </a:p>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US" sz="1100" b="1" kern="1400" dirty="0">
                          <a:solidFill>
                            <a:schemeClr val="bg1"/>
                          </a:solidFill>
                          <a:effectLst/>
                          <a:latin typeface="+mn-lt"/>
                          <a:ea typeface="+mn-ea"/>
                          <a:cs typeface="+mn-cs"/>
                        </a:rPr>
                        <a:t>Snap fits</a:t>
                      </a:r>
                    </a:p>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US" sz="1100" b="1" kern="1400" dirty="0">
                          <a:solidFill>
                            <a:schemeClr val="bg1"/>
                          </a:solidFill>
                          <a:effectLst/>
                          <a:latin typeface="+mn-lt"/>
                          <a:ea typeface="+mn-ea"/>
                          <a:cs typeface="+mn-cs"/>
                        </a:rPr>
                        <a:t>Low friction/stick slip on driver</a:t>
                      </a:r>
                      <a:endParaRPr lang="en-GB" sz="11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solidFill>
                      <a:schemeClr val="bg1">
                        <a:lumMod val="50000"/>
                      </a:schemeClr>
                    </a:solidFill>
                  </a:tcPr>
                </a:tc>
                <a:tc>
                  <a:txBody>
                    <a:bodyPr/>
                    <a:lstStyle/>
                    <a:p>
                      <a:pPr marR="0" indent="0" algn="ctr" rtl="0">
                        <a:lnSpc>
                          <a:spcPct val="119000"/>
                        </a:lnSpc>
                        <a:spcBef>
                          <a:spcPts val="0"/>
                        </a:spcBef>
                        <a:spcAft>
                          <a:spcPts val="0"/>
                        </a:spcAft>
                      </a:pPr>
                      <a:r>
                        <a:rPr lang="en-GB" sz="1000" kern="1400" dirty="0" err="1">
                          <a:solidFill>
                            <a:schemeClr val="tx1"/>
                          </a:solidFill>
                          <a:effectLst/>
                          <a:latin typeface="CelMyriad"/>
                          <a:ea typeface="+mn-ea"/>
                          <a:cs typeface="+mn-cs"/>
                        </a:rPr>
                        <a:t>Celanex</a:t>
                      </a:r>
                      <a:r>
                        <a:rPr lang="en-GB" sz="1000" kern="1400" dirty="0">
                          <a:solidFill>
                            <a:schemeClr val="tx1"/>
                          </a:solidFill>
                          <a:effectLst/>
                          <a:latin typeface="CelMyriad"/>
                          <a:ea typeface="+mn-ea"/>
                          <a:cs typeface="+mn-cs"/>
                        </a:rPr>
                        <a:t>® MT®                        PBT 2401MT</a:t>
                      </a:r>
                    </a:p>
                  </a:txBody>
                  <a:tcPr marL="25250" marR="25250" marT="25250" marB="25250" anchor="ctr">
                    <a:solidFill>
                      <a:schemeClr val="bg1"/>
                    </a:solidFill>
                  </a:tcPr>
                </a:tc>
                <a:tc>
                  <a:txBody>
                    <a:bodyPr/>
                    <a:lstStyle/>
                    <a:p>
                      <a:pPr marL="0" marR="0" lvl="0" indent="0" algn="ctr" defTabSz="914400" rtl="0" eaLnBrk="1" fontAlgn="auto" latinLnBrk="0" hangingPunct="1">
                        <a:lnSpc>
                          <a:spcPct val="119000"/>
                        </a:lnSpc>
                        <a:spcBef>
                          <a:spcPts val="0"/>
                        </a:spcBef>
                        <a:spcAft>
                          <a:spcPts val="0"/>
                        </a:spcAft>
                        <a:buClrTx/>
                        <a:buSzTx/>
                        <a:buFontTx/>
                        <a:buNone/>
                        <a:tabLst/>
                        <a:defRPr/>
                      </a:pPr>
                      <a:r>
                        <a:rPr lang="en-GB" sz="1000" kern="1400" dirty="0" err="1">
                          <a:solidFill>
                            <a:schemeClr val="tx1"/>
                          </a:solidFill>
                          <a:effectLst/>
                          <a:latin typeface="CelMyriad"/>
                          <a:ea typeface="+mn-ea"/>
                          <a:cs typeface="+mn-cs"/>
                        </a:rPr>
                        <a:t>Celanex</a:t>
                      </a:r>
                      <a:r>
                        <a:rPr lang="en-GB" sz="1000" kern="1400" dirty="0">
                          <a:solidFill>
                            <a:schemeClr val="tx1"/>
                          </a:solidFill>
                          <a:effectLst/>
                          <a:latin typeface="CelMyriad"/>
                          <a:ea typeface="+mn-ea"/>
                          <a:cs typeface="+mn-cs"/>
                        </a:rPr>
                        <a:t>® MT®                        PBT 2402MT</a:t>
                      </a:r>
                    </a:p>
                  </a:txBody>
                  <a:tcPr marL="25250" marR="25250" marT="25250" marB="25250" anchor="ctr">
                    <a:solidFill>
                      <a:schemeClr val="bg1"/>
                    </a:solidFill>
                  </a:tcPr>
                </a:tc>
                <a:tc>
                  <a:txBody>
                    <a:bodyPr/>
                    <a:lstStyle/>
                    <a:p>
                      <a:pPr marR="0" indent="0" algn="ctr" rtl="0">
                        <a:lnSpc>
                          <a:spcPct val="119000"/>
                        </a:lnSpc>
                        <a:spcBef>
                          <a:spcPts val="0"/>
                        </a:spcBef>
                        <a:spcAft>
                          <a:spcPts val="0"/>
                        </a:spcAft>
                      </a:pPr>
                      <a:r>
                        <a:rPr lang="en-US" sz="1000" kern="1400" dirty="0" err="1">
                          <a:solidFill>
                            <a:schemeClr val="tx1"/>
                          </a:solidFill>
                          <a:effectLst/>
                          <a:latin typeface="CelMyriad"/>
                          <a:ea typeface="+mn-ea"/>
                          <a:cs typeface="+mn-cs"/>
                        </a:rPr>
                        <a:t>Hostaform</a:t>
                      </a:r>
                      <a:r>
                        <a:rPr lang="en-GB" sz="1000" kern="1400" dirty="0">
                          <a:solidFill>
                            <a:schemeClr val="tx1"/>
                          </a:solidFill>
                          <a:effectLst/>
                          <a:latin typeface="CelMyriad"/>
                          <a:ea typeface="+mn-ea"/>
                          <a:cs typeface="+mn-cs"/>
                        </a:rPr>
                        <a:t>® MT® </a:t>
                      </a:r>
                      <a:r>
                        <a:rPr lang="en-GB" sz="1000" kern="1400" dirty="0" err="1">
                          <a:solidFill>
                            <a:schemeClr val="tx1"/>
                          </a:solidFill>
                          <a:effectLst/>
                          <a:latin typeface="CelMyriad"/>
                          <a:ea typeface="+mn-ea"/>
                          <a:cs typeface="+mn-cs"/>
                        </a:rPr>
                        <a:t>Slidex</a:t>
                      </a:r>
                      <a:r>
                        <a:rPr lang="en-GB" sz="1000" kern="1400" dirty="0">
                          <a:solidFill>
                            <a:schemeClr val="tx1"/>
                          </a:solidFill>
                          <a:effectLst/>
                          <a:latin typeface="CelMyriad"/>
                          <a:ea typeface="+mn-ea"/>
                          <a:cs typeface="+mn-cs"/>
                        </a:rPr>
                        <a:t>® POM 1203</a:t>
                      </a:r>
                    </a:p>
                  </a:txBody>
                  <a:tcPr marL="25250" marR="25250" marT="25250" marB="25250" anchor="ctr">
                    <a:solidFill>
                      <a:schemeClr val="bg1"/>
                    </a:solidFill>
                  </a:tcPr>
                </a:tc>
                <a:extLst>
                  <a:ext uri="{0D108BD9-81ED-4DB2-BD59-A6C34878D82A}">
                    <a16:rowId xmlns:a16="http://schemas.microsoft.com/office/drawing/2014/main" val="10008"/>
                  </a:ext>
                </a:extLst>
              </a:tr>
              <a:tr h="473119">
                <a:tc>
                  <a:txBody>
                    <a:bodyPr/>
                    <a:lstStyle/>
                    <a:p>
                      <a:pPr marL="0" marR="0" indent="0" algn="l" defTabSz="914400" rtl="0" eaLnBrk="1" latinLnBrk="0" hangingPunct="1">
                        <a:lnSpc>
                          <a:spcPct val="119000"/>
                        </a:lnSpc>
                        <a:spcBef>
                          <a:spcPts val="0"/>
                        </a:spcBef>
                        <a:spcAft>
                          <a:spcPts val="0"/>
                        </a:spcAft>
                        <a:buFont typeface="Arial" panose="020B0604020202020204" pitchFamily="34" charset="0"/>
                        <a:buNone/>
                      </a:pPr>
                      <a:r>
                        <a:rPr lang="en-GB" sz="1300" kern="1400" dirty="0">
                          <a:effectLst/>
                        </a:rPr>
                        <a:t>Button</a:t>
                      </a:r>
                      <a:endParaRPr lang="en-GB" sz="1300" b="1" kern="140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solidFill>
                      <a:schemeClr val="tx2"/>
                    </a:solidFill>
                  </a:tcPr>
                </a:tc>
                <a:tc>
                  <a:txBody>
                    <a:bodyPr/>
                    <a:lstStyle/>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GB" sz="1100" b="1" kern="1400" dirty="0">
                          <a:solidFill>
                            <a:schemeClr val="bg1"/>
                          </a:solidFill>
                          <a:effectLst/>
                          <a:latin typeface="+mn-lt"/>
                          <a:ea typeface="+mn-ea"/>
                          <a:cs typeface="+mn-cs"/>
                        </a:rPr>
                        <a:t>Low stick slip</a:t>
                      </a:r>
                    </a:p>
                    <a:p>
                      <a:pPr marL="171450" marR="0" indent="-171450" algn="l" defTabSz="914400" rtl="0" eaLnBrk="1" latinLnBrk="0" hangingPunct="1">
                        <a:lnSpc>
                          <a:spcPct val="119000"/>
                        </a:lnSpc>
                        <a:spcBef>
                          <a:spcPts val="0"/>
                        </a:spcBef>
                        <a:spcAft>
                          <a:spcPts val="0"/>
                        </a:spcAft>
                        <a:buFont typeface="Arial" panose="020B0604020202020204" pitchFamily="34" charset="0"/>
                        <a:buChar char="•"/>
                      </a:pPr>
                      <a:r>
                        <a:rPr lang="en-US" sz="1100" b="1" kern="1400" noProof="0" dirty="0">
                          <a:solidFill>
                            <a:schemeClr val="bg1"/>
                          </a:solidFill>
                          <a:effectLst/>
                          <a:latin typeface="+mn-lt"/>
                          <a:ea typeface="+mn-ea"/>
                          <a:cs typeface="+mn-cs"/>
                        </a:rPr>
                        <a:t>Colorability</a:t>
                      </a:r>
                      <a:r>
                        <a:rPr lang="en-US" sz="1100" b="1" kern="1400" baseline="0" noProof="0" dirty="0">
                          <a:solidFill>
                            <a:schemeClr val="bg1"/>
                          </a:solidFill>
                          <a:effectLst/>
                          <a:latin typeface="+mn-lt"/>
                          <a:ea typeface="+mn-ea"/>
                          <a:cs typeface="+mn-cs"/>
                        </a:rPr>
                        <a:t> </a:t>
                      </a:r>
                      <a:endParaRPr lang="en-US" sz="1100" b="1" kern="1400" noProof="0" dirty="0">
                        <a:solidFill>
                          <a:schemeClr val="bg1"/>
                        </a:solidFill>
                        <a:effectLst/>
                        <a:latin typeface="+mn-lt"/>
                        <a:ea typeface="+mn-ea"/>
                        <a:cs typeface="+mn-cs"/>
                      </a:endParaRPr>
                    </a:p>
                  </a:txBody>
                  <a:tcPr marL="25250" marR="25250" marT="25250" marB="25250" anchor="ctr">
                    <a:lnL w="28575" cap="flat" cmpd="sng" algn="ctr">
                      <a:solidFill>
                        <a:schemeClr val="tx1"/>
                      </a:solidFill>
                      <a:prstDash val="solid"/>
                      <a:round/>
                      <a:headEnd type="none" w="med" len="med"/>
                      <a:tailEnd type="none" w="med" len="med"/>
                    </a:lnL>
                    <a:solidFill>
                      <a:schemeClr val="bg1">
                        <a:lumMod val="50000"/>
                      </a:schemeClr>
                    </a:solidFill>
                  </a:tcPr>
                </a:tc>
                <a:tc>
                  <a:txBody>
                    <a:bodyPr/>
                    <a:lstStyle/>
                    <a:p>
                      <a:pPr marL="0" marR="0" lvl="0" indent="0" algn="ctr" defTabSz="914400" rtl="0" eaLnBrk="1" fontAlgn="auto" latinLnBrk="0" hangingPunct="1">
                        <a:lnSpc>
                          <a:spcPct val="119000"/>
                        </a:lnSpc>
                        <a:spcBef>
                          <a:spcPts val="0"/>
                        </a:spcBef>
                        <a:spcAft>
                          <a:spcPts val="0"/>
                        </a:spcAft>
                        <a:buClrTx/>
                        <a:buSzTx/>
                        <a:buFontTx/>
                        <a:buNone/>
                        <a:tabLst/>
                        <a:defRPr/>
                      </a:pPr>
                      <a:r>
                        <a:rPr lang="en-US" sz="1000" kern="1400" dirty="0" err="1">
                          <a:solidFill>
                            <a:schemeClr val="tx1"/>
                          </a:solidFill>
                          <a:effectLst/>
                          <a:latin typeface="CelMyriad"/>
                          <a:ea typeface="+mn-ea"/>
                          <a:cs typeface="+mn-cs"/>
                        </a:rPr>
                        <a:t>Hostaform</a:t>
                      </a:r>
                      <a:r>
                        <a:rPr lang="en-GB" sz="1000" kern="1400" dirty="0">
                          <a:solidFill>
                            <a:schemeClr val="tx1"/>
                          </a:solidFill>
                          <a:effectLst/>
                          <a:latin typeface="CelMyriad"/>
                          <a:ea typeface="+mn-ea"/>
                          <a:cs typeface="+mn-cs"/>
                        </a:rPr>
                        <a:t>®</a:t>
                      </a:r>
                      <a:r>
                        <a:rPr lang="en-US" sz="1000" kern="1400" dirty="0">
                          <a:solidFill>
                            <a:schemeClr val="tx1"/>
                          </a:solidFill>
                          <a:effectLst/>
                          <a:latin typeface="CelMyriad"/>
                          <a:ea typeface="+mn-ea"/>
                          <a:cs typeface="+mn-cs"/>
                        </a:rPr>
                        <a:t> MT</a:t>
                      </a:r>
                      <a:r>
                        <a:rPr lang="en-GB" sz="1000" kern="1400" dirty="0">
                          <a:solidFill>
                            <a:schemeClr val="tx1"/>
                          </a:solidFill>
                          <a:effectLst/>
                          <a:latin typeface="CelMyriad"/>
                          <a:ea typeface="+mn-ea"/>
                          <a:cs typeface="+mn-cs"/>
                        </a:rPr>
                        <a:t>®                       POM </a:t>
                      </a:r>
                      <a:r>
                        <a:rPr lang="en-US" sz="1000" kern="1400" dirty="0">
                          <a:solidFill>
                            <a:schemeClr val="tx1"/>
                          </a:solidFill>
                          <a:effectLst/>
                          <a:latin typeface="CelMyriad"/>
                          <a:ea typeface="+mn-ea"/>
                          <a:cs typeface="+mn-cs"/>
                        </a:rPr>
                        <a:t>8U01</a:t>
                      </a:r>
                    </a:p>
                  </a:txBody>
                  <a:tcPr marL="25250" marR="25250" marT="25250" marB="25250" anchor="ctr">
                    <a:solidFill>
                      <a:schemeClr val="bg1">
                        <a:lumMod val="95000"/>
                      </a:schemeClr>
                    </a:solidFill>
                  </a:tcPr>
                </a:tc>
                <a:tc>
                  <a:txBody>
                    <a:bodyPr/>
                    <a:lstStyle/>
                    <a:p>
                      <a:pPr marL="0" marR="0" lvl="0" indent="0" algn="ctr" defTabSz="914400" rtl="0" eaLnBrk="1" fontAlgn="auto" latinLnBrk="0" hangingPunct="1">
                        <a:lnSpc>
                          <a:spcPct val="119000"/>
                        </a:lnSpc>
                        <a:spcBef>
                          <a:spcPts val="0"/>
                        </a:spcBef>
                        <a:spcAft>
                          <a:spcPts val="0"/>
                        </a:spcAft>
                        <a:buClrTx/>
                        <a:buSzTx/>
                        <a:buFontTx/>
                        <a:buNone/>
                        <a:tabLst/>
                        <a:defRPr/>
                      </a:pPr>
                      <a:r>
                        <a:rPr lang="en-GB" sz="1000" kern="1400" dirty="0" err="1">
                          <a:solidFill>
                            <a:schemeClr val="tx1"/>
                          </a:solidFill>
                          <a:effectLst/>
                          <a:latin typeface="CelMyriad"/>
                          <a:ea typeface="+mn-ea"/>
                          <a:cs typeface="+mn-cs"/>
                        </a:rPr>
                        <a:t>Celanex</a:t>
                      </a:r>
                      <a:r>
                        <a:rPr lang="en-GB" sz="1000" kern="1400" dirty="0">
                          <a:solidFill>
                            <a:schemeClr val="tx1"/>
                          </a:solidFill>
                          <a:effectLst/>
                          <a:latin typeface="CelMyriad"/>
                          <a:ea typeface="+mn-ea"/>
                          <a:cs typeface="+mn-cs"/>
                        </a:rPr>
                        <a:t>® MT®                          PBT 2405MT</a:t>
                      </a:r>
                    </a:p>
                  </a:txBody>
                  <a:tcPr marL="25250" marR="25250" marT="25250" marB="25250" anchor="ctr">
                    <a:solidFill>
                      <a:schemeClr val="bg1">
                        <a:lumMod val="95000"/>
                      </a:schemeClr>
                    </a:solidFill>
                  </a:tcPr>
                </a:tc>
                <a:tc>
                  <a:txBody>
                    <a:bodyPr/>
                    <a:lstStyle/>
                    <a:p>
                      <a:pPr marL="0" marR="0" lvl="0" indent="0" algn="ctr" defTabSz="914400" rtl="0" eaLnBrk="1" fontAlgn="auto" latinLnBrk="0" hangingPunct="1">
                        <a:lnSpc>
                          <a:spcPct val="119000"/>
                        </a:lnSpc>
                        <a:spcBef>
                          <a:spcPts val="0"/>
                        </a:spcBef>
                        <a:spcAft>
                          <a:spcPts val="0"/>
                        </a:spcAft>
                        <a:buClrTx/>
                        <a:buSzTx/>
                        <a:buFontTx/>
                        <a:buNone/>
                        <a:tabLst/>
                        <a:defRPr/>
                      </a:pPr>
                      <a:r>
                        <a:rPr lang="en-GB" sz="1000" kern="1400" dirty="0" err="1">
                          <a:solidFill>
                            <a:schemeClr val="tx1"/>
                          </a:solidFill>
                          <a:effectLst/>
                          <a:latin typeface="CelMyriad"/>
                          <a:ea typeface="+mn-ea"/>
                          <a:cs typeface="+mn-cs"/>
                        </a:rPr>
                        <a:t>Celanex</a:t>
                      </a:r>
                      <a:r>
                        <a:rPr lang="en-GB" sz="1000" kern="1400" dirty="0">
                          <a:solidFill>
                            <a:schemeClr val="tx1"/>
                          </a:solidFill>
                          <a:effectLst/>
                          <a:latin typeface="CelMyriad"/>
                          <a:ea typeface="+mn-ea"/>
                          <a:cs typeface="+mn-cs"/>
                        </a:rPr>
                        <a:t>® MT®                         PBT 2404MT</a:t>
                      </a:r>
                    </a:p>
                  </a:txBody>
                  <a:tcPr marL="25250" marR="25250" marT="25250" marB="25250" anchor="ctr">
                    <a:solidFill>
                      <a:schemeClr val="bg1">
                        <a:lumMod val="95000"/>
                      </a:schemeClr>
                    </a:solidFill>
                  </a:tcPr>
                </a:tc>
                <a:extLst>
                  <a:ext uri="{0D108BD9-81ED-4DB2-BD59-A6C34878D82A}">
                    <a16:rowId xmlns:a16="http://schemas.microsoft.com/office/drawing/2014/main" val="10009"/>
                  </a:ext>
                </a:extLst>
              </a:tr>
            </a:tbl>
          </a:graphicData>
        </a:graphic>
      </p:graphicFrame>
      <p:sp>
        <p:nvSpPr>
          <p:cNvPr id="22" name="Footer Placeholder 103"/>
          <p:cNvSpPr>
            <a:spLocks noGrp="1"/>
          </p:cNvSpPr>
          <p:nvPr>
            <p:ph type="ftr" sz="quarter" idx="14"/>
          </p:nvPr>
        </p:nvSpPr>
        <p:spPr>
          <a:xfrm>
            <a:off x="390528" y="4767265"/>
            <a:ext cx="553370" cy="273844"/>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4D4D4D"/>
                </a:solidFill>
                <a:effectLst/>
                <a:uLnTx/>
                <a:uFillTx/>
                <a:latin typeface="Calibri"/>
                <a:ea typeface="+mn-ea"/>
                <a:cs typeface="+mn-cs"/>
              </a:rPr>
              <a:t>External</a:t>
            </a:r>
          </a:p>
        </p:txBody>
      </p:sp>
    </p:spTree>
    <p:extLst>
      <p:ext uri="{BB962C8B-B14F-4D97-AF65-F5344CB8AC3E}">
        <p14:creationId xmlns:p14="http://schemas.microsoft.com/office/powerpoint/2010/main" val="2525484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elanese">
  <a:themeElements>
    <a:clrScheme name="Benutzerdefiniert 15">
      <a:dk1>
        <a:srgbClr val="262626"/>
      </a:dk1>
      <a:lt1>
        <a:sysClr val="window" lastClr="FFFFFF"/>
      </a:lt1>
      <a:dk2>
        <a:srgbClr val="F05500"/>
      </a:dk2>
      <a:lt2>
        <a:srgbClr val="D8D8D0"/>
      </a:lt2>
      <a:accent1>
        <a:srgbClr val="92D050"/>
      </a:accent1>
      <a:accent2>
        <a:srgbClr val="7C4199"/>
      </a:accent2>
      <a:accent3>
        <a:srgbClr val="00A8E1"/>
      </a:accent3>
      <a:accent4>
        <a:srgbClr val="F05500"/>
      </a:accent4>
      <a:accent5>
        <a:srgbClr val="D84295"/>
      </a:accent5>
      <a:accent6>
        <a:srgbClr val="EA1C2C"/>
      </a:accent6>
      <a:hlink>
        <a:srgbClr val="F79300"/>
      </a:hlink>
      <a:folHlink>
        <a:srgbClr val="FFD000"/>
      </a:folHlink>
    </a:clrScheme>
    <a:fontScheme name="Celanese Heading">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79300"/>
    </a:custClr>
    <a:custClr name="Yellow">
      <a:srgbClr val="FFD000"/>
    </a:custClr>
    <a:custClr name="Green">
      <a:srgbClr val="D6E03D"/>
    </a:custClr>
    <a:custClr name="Text">
      <a:srgbClr val="4D4D4D"/>
    </a:custClr>
  </a:custClrLst>
  <a:extLst>
    <a:ext uri="{05A4C25C-085E-4340-85A3-A5531E510DB2}">
      <thm15:themeFamily xmlns:thm15="http://schemas.microsoft.com/office/thememl/2012/main" name="Celanese" id="{009456AD-DDD4-4F8C-87D6-0A0E5358C468}" vid="{A3655BF8-59B4-4ECE-BAD2-E07C4C0A71CF}"/>
    </a:ext>
  </a:extLst>
</a:theme>
</file>

<file path=ppt/theme/theme2.xml><?xml version="1.0" encoding="utf-8"?>
<a:theme xmlns:a="http://schemas.openxmlformats.org/drawingml/2006/main" name="Celanese Corporation">
  <a:themeElements>
    <a:clrScheme name="Benutzerdefiniert 15">
      <a:dk1>
        <a:srgbClr val="262626"/>
      </a:dk1>
      <a:lt1>
        <a:sysClr val="window" lastClr="FFFFFF"/>
      </a:lt1>
      <a:dk2>
        <a:srgbClr val="F05500"/>
      </a:dk2>
      <a:lt2>
        <a:srgbClr val="D8D8D0"/>
      </a:lt2>
      <a:accent1>
        <a:srgbClr val="92D050"/>
      </a:accent1>
      <a:accent2>
        <a:srgbClr val="7C4199"/>
      </a:accent2>
      <a:accent3>
        <a:srgbClr val="00A8E1"/>
      </a:accent3>
      <a:accent4>
        <a:srgbClr val="F05500"/>
      </a:accent4>
      <a:accent5>
        <a:srgbClr val="D84295"/>
      </a:accent5>
      <a:accent6>
        <a:srgbClr val="EA1C2C"/>
      </a:accent6>
      <a:hlink>
        <a:srgbClr val="F79300"/>
      </a:hlink>
      <a:folHlink>
        <a:srgbClr val="FFD000"/>
      </a:folHlink>
    </a:clrScheme>
    <a:fontScheme name="Celanese Heading">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79300"/>
    </a:custClr>
    <a:custClr name="Yellow">
      <a:srgbClr val="FFD000"/>
    </a:custClr>
    <a:custClr name="Green">
      <a:srgbClr val="D6E03D"/>
    </a:custClr>
    <a:custClr name="Text">
      <a:srgbClr val="4D4D4D"/>
    </a:custClr>
  </a:custClr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elanese</Template>
  <TotalTime>24</TotalTime>
  <Words>2140</Words>
  <Application>Microsoft Office PowerPoint</Application>
  <PresentationFormat>On-screen Show (16:9)</PresentationFormat>
  <Paragraphs>359</Paragraphs>
  <Slides>13</Slides>
  <Notes>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CelMyriad</vt:lpstr>
      <vt:lpstr>Courier New</vt:lpstr>
      <vt:lpstr>Franklin Gothic Book</vt:lpstr>
      <vt:lpstr>Rockwell</vt:lpstr>
      <vt:lpstr>Celanese</vt:lpstr>
      <vt:lpstr>Celanese Corporation</vt:lpstr>
      <vt:lpstr>think-cell Folie</vt:lpstr>
      <vt:lpstr>Differentiated materials for innovative injection systems </vt:lpstr>
      <vt:lpstr>Trends in biologics delivery</vt:lpstr>
      <vt:lpstr>Market trends </vt:lpstr>
      <vt:lpstr>Evolution of biologics delivery solutions</vt:lpstr>
      <vt:lpstr>Autoinjector material selection</vt:lpstr>
      <vt:lpstr>Concept of an Autoinjector</vt:lpstr>
      <vt:lpstr>Concept of an Autoinjector Product requirements</vt:lpstr>
      <vt:lpstr>The Importance of Tribology Concept of an Autoinjector</vt:lpstr>
      <vt:lpstr>The Importance of Tribology Material Selection for an Autoinjector</vt:lpstr>
      <vt:lpstr>Medical wearable devices </vt:lpstr>
      <vt:lpstr>Celanese’s Differentiated Large Volume Wearable Pump Solutions with Vectra® MT® LCP, Hostaform® MT® SlideX® POM &amp; Celanex® MT® SlideX® PBT </vt:lpstr>
      <vt:lpstr>PowerPoint Presentation</vt:lpstr>
      <vt:lpstr>Legal 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elgert, Christian, Celanese</dc:creator>
  <cp:lastModifiedBy>Alvarez, Noelia</cp:lastModifiedBy>
  <cp:revision>12</cp:revision>
  <dcterms:created xsi:type="dcterms:W3CDTF">2020-09-02T12:49:23Z</dcterms:created>
  <dcterms:modified xsi:type="dcterms:W3CDTF">2020-09-21T07:5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81c070e-054b-4d1c-ba4c-fc70b099192e_Enabled">
    <vt:lpwstr>True</vt:lpwstr>
  </property>
  <property fmtid="{D5CDD505-2E9C-101B-9397-08002B2CF9AE}" pid="3" name="MSIP_Label_181c070e-054b-4d1c-ba4c-fc70b099192e_SiteId">
    <vt:lpwstr>2567d566-604c-408a-8a60-55d0dc9d9d6b</vt:lpwstr>
  </property>
  <property fmtid="{D5CDD505-2E9C-101B-9397-08002B2CF9AE}" pid="4" name="MSIP_Label_181c070e-054b-4d1c-ba4c-fc70b099192e_Owner">
    <vt:lpwstr>Noelia.Alvarez@informa.com</vt:lpwstr>
  </property>
  <property fmtid="{D5CDD505-2E9C-101B-9397-08002B2CF9AE}" pid="5" name="MSIP_Label_181c070e-054b-4d1c-ba4c-fc70b099192e_SetDate">
    <vt:lpwstr>2020-09-21T07:51:26.8545952Z</vt:lpwstr>
  </property>
  <property fmtid="{D5CDD505-2E9C-101B-9397-08002B2CF9AE}" pid="6" name="MSIP_Label_181c070e-054b-4d1c-ba4c-fc70b099192e_Name">
    <vt:lpwstr>General</vt:lpwstr>
  </property>
  <property fmtid="{D5CDD505-2E9C-101B-9397-08002B2CF9AE}" pid="7" name="MSIP_Label_181c070e-054b-4d1c-ba4c-fc70b099192e_Application">
    <vt:lpwstr>Microsoft Azure Information Protection</vt:lpwstr>
  </property>
  <property fmtid="{D5CDD505-2E9C-101B-9397-08002B2CF9AE}" pid="8" name="MSIP_Label_181c070e-054b-4d1c-ba4c-fc70b099192e_ActionId">
    <vt:lpwstr>27f5fd30-30ec-48eb-8f78-3eb34b8ccb99</vt:lpwstr>
  </property>
  <property fmtid="{D5CDD505-2E9C-101B-9397-08002B2CF9AE}" pid="9" name="MSIP_Label_181c070e-054b-4d1c-ba4c-fc70b099192e_Extended_MSFT_Method">
    <vt:lpwstr>Automatic</vt:lpwstr>
  </property>
  <property fmtid="{D5CDD505-2E9C-101B-9397-08002B2CF9AE}" pid="10" name="MSIP_Label_2bbab825-a111-45e4-86a1-18cee0005896_Enabled">
    <vt:lpwstr>True</vt:lpwstr>
  </property>
  <property fmtid="{D5CDD505-2E9C-101B-9397-08002B2CF9AE}" pid="11" name="MSIP_Label_2bbab825-a111-45e4-86a1-18cee0005896_SiteId">
    <vt:lpwstr>2567d566-604c-408a-8a60-55d0dc9d9d6b</vt:lpwstr>
  </property>
  <property fmtid="{D5CDD505-2E9C-101B-9397-08002B2CF9AE}" pid="12" name="MSIP_Label_2bbab825-a111-45e4-86a1-18cee0005896_Owner">
    <vt:lpwstr>Noelia.Alvarez@informa.com</vt:lpwstr>
  </property>
  <property fmtid="{D5CDD505-2E9C-101B-9397-08002B2CF9AE}" pid="13" name="MSIP_Label_2bbab825-a111-45e4-86a1-18cee0005896_SetDate">
    <vt:lpwstr>2020-09-21T07:51:26.8545952Z</vt:lpwstr>
  </property>
  <property fmtid="{D5CDD505-2E9C-101B-9397-08002B2CF9AE}" pid="14" name="MSIP_Label_2bbab825-a111-45e4-86a1-18cee0005896_Name">
    <vt:lpwstr>Un-restricted</vt:lpwstr>
  </property>
  <property fmtid="{D5CDD505-2E9C-101B-9397-08002B2CF9AE}" pid="15" name="MSIP_Label_2bbab825-a111-45e4-86a1-18cee0005896_Application">
    <vt:lpwstr>Microsoft Azure Information Protection</vt:lpwstr>
  </property>
  <property fmtid="{D5CDD505-2E9C-101B-9397-08002B2CF9AE}" pid="16" name="MSIP_Label_2bbab825-a111-45e4-86a1-18cee0005896_ActionId">
    <vt:lpwstr>27f5fd30-30ec-48eb-8f78-3eb34b8ccb99</vt:lpwstr>
  </property>
  <property fmtid="{D5CDD505-2E9C-101B-9397-08002B2CF9AE}" pid="17" name="MSIP_Label_2bbab825-a111-45e4-86a1-18cee0005896_Parent">
    <vt:lpwstr>181c070e-054b-4d1c-ba4c-fc70b099192e</vt:lpwstr>
  </property>
  <property fmtid="{D5CDD505-2E9C-101B-9397-08002B2CF9AE}" pid="18" name="MSIP_Label_2bbab825-a111-45e4-86a1-18cee0005896_Extended_MSFT_Method">
    <vt:lpwstr>Automatic</vt:lpwstr>
  </property>
  <property fmtid="{D5CDD505-2E9C-101B-9397-08002B2CF9AE}" pid="19" name="Sensitivity">
    <vt:lpwstr>General Un-restricted</vt:lpwstr>
  </property>
</Properties>
</file>